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0.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1.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3.xml" ContentType="application/vnd.openxmlformats-officedocument.them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4.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5.xml" ContentType="application/vnd.openxmlformats-officedocument.them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6.xml" ContentType="application/vnd.openxmlformats-officedocument.them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7.xml" ContentType="application/vnd.openxmlformats-officedocument.them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8.xml" ContentType="application/vnd.openxmlformats-officedocument.them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notesSlides/notesSlide1.xml" ContentType="application/vnd.openxmlformats-officedocument.presentationml.notesSlide+xml"/>
  <Override PartName="/ppt/tags/tag206.xml" ContentType="application/vnd.openxmlformats-officedocument.presentationml.tags+xml"/>
  <Override PartName="/ppt/notesSlides/notesSlide2.xml" ContentType="application/vnd.openxmlformats-officedocument.presentationml.notesSlide+xml"/>
  <Override PartName="/ppt/tags/tag207.xml" ContentType="application/vnd.openxmlformats-officedocument.presentationml.tags+xml"/>
  <Override PartName="/ppt/notesSlides/notesSlide3.xml" ContentType="application/vnd.openxmlformats-officedocument.presentationml.notesSlide+xml"/>
  <Override PartName="/ppt/tags/tag208.xml" ContentType="application/vnd.openxmlformats-officedocument.presentationml.tags+xml"/>
  <Override PartName="/ppt/notesSlides/notesSlide4.xml" ContentType="application/vnd.openxmlformats-officedocument.presentationml.notesSlide+xml"/>
  <Override PartName="/ppt/tags/tag209.xml" ContentType="application/vnd.openxmlformats-officedocument.presentationml.tags+xml"/>
  <Override PartName="/ppt/notesSlides/notesSlide5.xml" ContentType="application/vnd.openxmlformats-officedocument.presentationml.notesSlide+xml"/>
  <Override PartName="/ppt/tags/tag210.xml" ContentType="application/vnd.openxmlformats-officedocument.presentationml.tags+xml"/>
  <Override PartName="/ppt/notesSlides/notesSlide6.xml" ContentType="application/vnd.openxmlformats-officedocument.presentationml.notesSlide+xml"/>
  <Override PartName="/ppt/tags/tag211.xml" ContentType="application/vnd.openxmlformats-officedocument.presentationml.tags+xml"/>
  <Override PartName="/ppt/notesSlides/notesSlide7.xml" ContentType="application/vnd.openxmlformats-officedocument.presentationml.notesSlide+xml"/>
  <Override PartName="/ppt/tags/tag212.xml" ContentType="application/vnd.openxmlformats-officedocument.presentationml.tags+xml"/>
  <Override PartName="/ppt/notesSlides/notesSlide8.xml" ContentType="application/vnd.openxmlformats-officedocument.presentationml.notesSlide+xml"/>
  <Override PartName="/ppt/tags/tag213.xml" ContentType="application/vnd.openxmlformats-officedocument.presentationml.tags+xml"/>
  <Override PartName="/ppt/notesSlides/notesSlide9.xml" ContentType="application/vnd.openxmlformats-officedocument.presentationml.notesSlide+xml"/>
  <Override PartName="/ppt/tags/tag214.xml" ContentType="application/vnd.openxmlformats-officedocument.presentationml.tags+xml"/>
  <Override PartName="/ppt/notesSlides/notesSlide10.xml" ContentType="application/vnd.openxmlformats-officedocument.presentationml.notesSlide+xml"/>
  <Override PartName="/ppt/tags/tag215.xml" ContentType="application/vnd.openxmlformats-officedocument.presentationml.tags+xml"/>
  <Override PartName="/ppt/notesSlides/notesSlide11.xml" ContentType="application/vnd.openxmlformats-officedocument.presentationml.notesSlide+xml"/>
  <Override PartName="/ppt/tags/tag216.xml" ContentType="application/vnd.openxmlformats-officedocument.presentationml.tags+xml"/>
  <Override PartName="/ppt/notesSlides/notesSlide12.xml" ContentType="application/vnd.openxmlformats-officedocument.presentationml.notesSlide+xml"/>
  <Override PartName="/ppt/tags/tag217.xml" ContentType="application/vnd.openxmlformats-officedocument.presentationml.tags+xml"/>
  <Override PartName="/ppt/notesSlides/notesSlide13.xml" ContentType="application/vnd.openxmlformats-officedocument.presentationml.notesSlide+xml"/>
  <Override PartName="/ppt/tags/tag218.xml" ContentType="application/vnd.openxmlformats-officedocument.presentationml.tags+xml"/>
  <Override PartName="/ppt/notesSlides/notesSlide14.xml" ContentType="application/vnd.openxmlformats-officedocument.presentationml.notesSlide+xml"/>
  <Override PartName="/ppt/tags/tag219.xml" ContentType="application/vnd.openxmlformats-officedocument.presentationml.tags+xml"/>
  <Override PartName="/ppt/notesSlides/notesSlide15.xml" ContentType="application/vnd.openxmlformats-officedocument.presentationml.notesSlide+xml"/>
  <Override PartName="/ppt/tags/tag220.xml" ContentType="application/vnd.openxmlformats-officedocument.presentationml.tags+xml"/>
  <Override PartName="/ppt/notesSlides/notesSlide16.xml" ContentType="application/vnd.openxmlformats-officedocument.presentationml.notesSlide+xml"/>
  <Override PartName="/ppt/tags/tag221.xml" ContentType="application/vnd.openxmlformats-officedocument.presentationml.tags+xml"/>
  <Override PartName="/ppt/notesSlides/notesSlide17.xml" ContentType="application/vnd.openxmlformats-officedocument.presentationml.notesSlide+xml"/>
  <Override PartName="/ppt/tags/tag222.xml" ContentType="application/vnd.openxmlformats-officedocument.presentationml.tags+xml"/>
  <Override PartName="/ppt/notesSlides/notesSlide18.xml" ContentType="application/vnd.openxmlformats-officedocument.presentationml.notesSlide+xml"/>
  <Override PartName="/ppt/tags/tag223.xml" ContentType="application/vnd.openxmlformats-officedocument.presentationml.tags+xml"/>
  <Override PartName="/ppt/notesSlides/notesSlide19.xml" ContentType="application/vnd.openxmlformats-officedocument.presentationml.notesSlide+xml"/>
  <Override PartName="/ppt/tags/tag224.xml" ContentType="application/vnd.openxmlformats-officedocument.presentationml.tags+xml"/>
  <Override PartName="/ppt/notesSlides/notesSlide20.xml" ContentType="application/vnd.openxmlformats-officedocument.presentationml.notesSlide+xml"/>
  <Override PartName="/ppt/tags/tag225.xml" ContentType="application/vnd.openxmlformats-officedocument.presentationml.tags+xml"/>
  <Override PartName="/ppt/notesSlides/notesSlide21.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 id="2147483754" r:id="rId14"/>
    <p:sldMasterId id="2147483763" r:id="rId15"/>
    <p:sldMasterId id="2147483772" r:id="rId16"/>
    <p:sldMasterId id="2147483781" r:id="rId17"/>
    <p:sldMasterId id="2147483790" r:id="rId18"/>
    <p:sldMasterId id="2147483799" r:id="rId19"/>
    <p:sldMasterId id="2147483808" r:id="rId20"/>
    <p:sldMasterId id="2147483817" r:id="rId21"/>
  </p:sldMasterIdLst>
  <p:notesMasterIdLst>
    <p:notesMasterId r:id="rId44"/>
  </p:notesMasterIdLst>
  <p:handoutMasterIdLst>
    <p:handoutMasterId r:id="rId45"/>
  </p:handoutMasterIdLst>
  <p:sldIdLst>
    <p:sldId id="2530" r:id="rId22"/>
    <p:sldId id="2365" r:id="rId23"/>
    <p:sldId id="2532" r:id="rId24"/>
    <p:sldId id="1758" r:id="rId25"/>
    <p:sldId id="1759" r:id="rId26"/>
    <p:sldId id="1760" r:id="rId27"/>
    <p:sldId id="2531" r:id="rId28"/>
    <p:sldId id="1762" r:id="rId29"/>
    <p:sldId id="1763" r:id="rId30"/>
    <p:sldId id="1764" r:id="rId31"/>
    <p:sldId id="2215" r:id="rId32"/>
    <p:sldId id="1766" r:id="rId33"/>
    <p:sldId id="1767" r:id="rId34"/>
    <p:sldId id="1768" r:id="rId35"/>
    <p:sldId id="2525" r:id="rId36"/>
    <p:sldId id="1770" r:id="rId37"/>
    <p:sldId id="1771" r:id="rId38"/>
    <p:sldId id="1772" r:id="rId39"/>
    <p:sldId id="2526" r:id="rId40"/>
    <p:sldId id="2135" r:id="rId41"/>
    <p:sldId id="2157" r:id="rId42"/>
    <p:sldId id="2213" r:id="rId43"/>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6DE"/>
    <a:srgbClr val="FF0000"/>
    <a:srgbClr val="D3EFCE"/>
    <a:srgbClr val="D9D9D9"/>
    <a:srgbClr val="F7F7F7"/>
    <a:srgbClr val="92D050"/>
    <a:srgbClr val="00B050"/>
    <a:srgbClr val="EBF2FF"/>
    <a:srgbClr val="C000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8EEACC-F499-4F98-BDF5-6869C059A4CC}" v="4" dt="2023-05-25T01:11:39.6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30" autoAdjust="0"/>
    <p:restoredTop sz="94987" autoAdjust="0"/>
  </p:normalViewPr>
  <p:slideViewPr>
    <p:cSldViewPr snapToGrid="0">
      <p:cViewPr varScale="1">
        <p:scale>
          <a:sx n="56" d="100"/>
          <a:sy n="56" d="100"/>
        </p:scale>
        <p:origin x="1100"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2700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handoutMaster" Target="handoutMasters/handoutMaster1.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notesMaster" Target="notesMasters/notesMaster1.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C523CB9D-DE17-4F66-BAA5-E2467A3E4858}"/>
    <pc:docChg chg="delSld modSld">
      <pc:chgData name="Aurelien Domont" userId="6da7715ce44349b3" providerId="LiveId" clId="{C523CB9D-DE17-4F66-BAA5-E2467A3E4858}" dt="2021-05-03T08:03:28.500" v="13" actId="20577"/>
      <pc:docMkLst>
        <pc:docMk/>
      </pc:docMkLst>
      <pc:sldChg chg="del">
        <pc:chgData name="Aurelien Domont" userId="6da7715ce44349b3" providerId="LiveId" clId="{C523CB9D-DE17-4F66-BAA5-E2467A3E4858}" dt="2021-05-03T08:02:20.197" v="0" actId="47"/>
        <pc:sldMkLst>
          <pc:docMk/>
          <pc:sldMk cId="4262757208" sldId="1792"/>
        </pc:sldMkLst>
      </pc:sldChg>
      <pc:sldChg chg="del">
        <pc:chgData name="Aurelien Domont" userId="6da7715ce44349b3" providerId="LiveId" clId="{C523CB9D-DE17-4F66-BAA5-E2467A3E4858}" dt="2021-05-03T08:02:20.197" v="0" actId="47"/>
        <pc:sldMkLst>
          <pc:docMk/>
          <pc:sldMk cId="504490806" sldId="1796"/>
        </pc:sldMkLst>
      </pc:sldChg>
      <pc:sldChg chg="del">
        <pc:chgData name="Aurelien Domont" userId="6da7715ce44349b3" providerId="LiveId" clId="{C523CB9D-DE17-4F66-BAA5-E2467A3E4858}" dt="2021-05-03T08:02:20.197" v="0" actId="47"/>
        <pc:sldMkLst>
          <pc:docMk/>
          <pc:sldMk cId="767058056" sldId="1797"/>
        </pc:sldMkLst>
      </pc:sldChg>
      <pc:sldChg chg="del">
        <pc:chgData name="Aurelien Domont" userId="6da7715ce44349b3" providerId="LiveId" clId="{C523CB9D-DE17-4F66-BAA5-E2467A3E4858}" dt="2021-05-03T08:02:20.197" v="0" actId="47"/>
        <pc:sldMkLst>
          <pc:docMk/>
          <pc:sldMk cId="713437184" sldId="1882"/>
        </pc:sldMkLst>
      </pc:sldChg>
      <pc:sldChg chg="del">
        <pc:chgData name="Aurelien Domont" userId="6da7715ce44349b3" providerId="LiveId" clId="{C523CB9D-DE17-4F66-BAA5-E2467A3E4858}" dt="2021-05-03T08:02:20.197" v="0" actId="47"/>
        <pc:sldMkLst>
          <pc:docMk/>
          <pc:sldMk cId="3792836084" sldId="1883"/>
        </pc:sldMkLst>
      </pc:sldChg>
      <pc:sldChg chg="del">
        <pc:chgData name="Aurelien Domont" userId="6da7715ce44349b3" providerId="LiveId" clId="{C523CB9D-DE17-4F66-BAA5-E2467A3E4858}" dt="2021-05-03T08:02:20.197" v="0" actId="47"/>
        <pc:sldMkLst>
          <pc:docMk/>
          <pc:sldMk cId="3227587685" sldId="1884"/>
        </pc:sldMkLst>
      </pc:sldChg>
      <pc:sldChg chg="del">
        <pc:chgData name="Aurelien Domont" userId="6da7715ce44349b3" providerId="LiveId" clId="{C523CB9D-DE17-4F66-BAA5-E2467A3E4858}" dt="2021-05-03T08:02:20.197" v="0" actId="47"/>
        <pc:sldMkLst>
          <pc:docMk/>
          <pc:sldMk cId="2820013767" sldId="1885"/>
        </pc:sldMkLst>
      </pc:sldChg>
      <pc:sldChg chg="del">
        <pc:chgData name="Aurelien Domont" userId="6da7715ce44349b3" providerId="LiveId" clId="{C523CB9D-DE17-4F66-BAA5-E2467A3E4858}" dt="2021-05-03T08:02:20.197" v="0" actId="47"/>
        <pc:sldMkLst>
          <pc:docMk/>
          <pc:sldMk cId="3287084427" sldId="1886"/>
        </pc:sldMkLst>
      </pc:sldChg>
      <pc:sldChg chg="del">
        <pc:chgData name="Aurelien Domont" userId="6da7715ce44349b3" providerId="LiveId" clId="{C523CB9D-DE17-4F66-BAA5-E2467A3E4858}" dt="2021-05-03T08:02:20.197" v="0" actId="47"/>
        <pc:sldMkLst>
          <pc:docMk/>
          <pc:sldMk cId="2955017529" sldId="1887"/>
        </pc:sldMkLst>
      </pc:sldChg>
      <pc:sldChg chg="del">
        <pc:chgData name="Aurelien Domont" userId="6da7715ce44349b3" providerId="LiveId" clId="{C523CB9D-DE17-4F66-BAA5-E2467A3E4858}" dt="2021-05-03T08:02:20.197" v="0" actId="47"/>
        <pc:sldMkLst>
          <pc:docMk/>
          <pc:sldMk cId="3064639401" sldId="1889"/>
        </pc:sldMkLst>
      </pc:sldChg>
      <pc:sldChg chg="del">
        <pc:chgData name="Aurelien Domont" userId="6da7715ce44349b3" providerId="LiveId" clId="{C523CB9D-DE17-4F66-BAA5-E2467A3E4858}" dt="2021-05-03T08:02:20.197" v="0" actId="47"/>
        <pc:sldMkLst>
          <pc:docMk/>
          <pc:sldMk cId="4203379594" sldId="1890"/>
        </pc:sldMkLst>
      </pc:sldChg>
      <pc:sldChg chg="del">
        <pc:chgData name="Aurelien Domont" userId="6da7715ce44349b3" providerId="LiveId" clId="{C523CB9D-DE17-4F66-BAA5-E2467A3E4858}" dt="2021-05-03T08:02:20.197" v="0" actId="47"/>
        <pc:sldMkLst>
          <pc:docMk/>
          <pc:sldMk cId="2239563003" sldId="1892"/>
        </pc:sldMkLst>
      </pc:sldChg>
      <pc:sldChg chg="del">
        <pc:chgData name="Aurelien Domont" userId="6da7715ce44349b3" providerId="LiveId" clId="{C523CB9D-DE17-4F66-BAA5-E2467A3E4858}" dt="2021-05-03T08:02:20.197" v="0" actId="47"/>
        <pc:sldMkLst>
          <pc:docMk/>
          <pc:sldMk cId="3677099460" sldId="1893"/>
        </pc:sldMkLst>
      </pc:sldChg>
      <pc:sldChg chg="modSp mod">
        <pc:chgData name="Aurelien Domont" userId="6da7715ce44349b3" providerId="LiveId" clId="{C523CB9D-DE17-4F66-BAA5-E2467A3E4858}" dt="2021-05-03T08:02:57.383" v="2" actId="20577"/>
        <pc:sldMkLst>
          <pc:docMk/>
          <pc:sldMk cId="3738554192" sldId="1918"/>
        </pc:sldMkLst>
        <pc:spChg chg="mod">
          <ac:chgData name="Aurelien Domont" userId="6da7715ce44349b3" providerId="LiveId" clId="{C523CB9D-DE17-4F66-BAA5-E2467A3E4858}" dt="2021-05-03T08:02:57.383" v="2" actId="20577"/>
          <ac:spMkLst>
            <pc:docMk/>
            <pc:sldMk cId="3738554192" sldId="1918"/>
            <ac:spMk id="16" creationId="{6C2BB713-9637-4B9B-938F-E9768876782A}"/>
          </ac:spMkLst>
        </pc:spChg>
      </pc:sldChg>
      <pc:sldChg chg="modSp mod">
        <pc:chgData name="Aurelien Domont" userId="6da7715ce44349b3" providerId="LiveId" clId="{C523CB9D-DE17-4F66-BAA5-E2467A3E4858}" dt="2021-05-03T08:03:28.500" v="13" actId="20577"/>
        <pc:sldMkLst>
          <pc:docMk/>
          <pc:sldMk cId="4287792945" sldId="1919"/>
        </pc:sldMkLst>
        <pc:spChg chg="mod">
          <ac:chgData name="Aurelien Domont" userId="6da7715ce44349b3" providerId="LiveId" clId="{C523CB9D-DE17-4F66-BAA5-E2467A3E4858}" dt="2021-05-03T08:03:25.707" v="11" actId="20577"/>
          <ac:spMkLst>
            <pc:docMk/>
            <pc:sldMk cId="4287792945" sldId="1919"/>
            <ac:spMk id="2" creationId="{DB8DB0C8-E51F-47D1-A351-F9D9CA2C15DA}"/>
          </ac:spMkLst>
        </pc:spChg>
        <pc:spChg chg="mod">
          <ac:chgData name="Aurelien Domont" userId="6da7715ce44349b3" providerId="LiveId" clId="{C523CB9D-DE17-4F66-BAA5-E2467A3E4858}" dt="2021-05-03T08:03:28.500" v="13" actId="20577"/>
          <ac:spMkLst>
            <pc:docMk/>
            <pc:sldMk cId="4287792945" sldId="1919"/>
            <ac:spMk id="16" creationId="{6C2BB713-9637-4B9B-938F-E9768876782A}"/>
          </ac:spMkLst>
        </pc:spChg>
      </pc:sldChg>
      <pc:sldChg chg="del">
        <pc:chgData name="Aurelien Domont" userId="6da7715ce44349b3" providerId="LiveId" clId="{C523CB9D-DE17-4F66-BAA5-E2467A3E4858}" dt="2021-05-03T08:02:20.197" v="0" actId="47"/>
        <pc:sldMkLst>
          <pc:docMk/>
          <pc:sldMk cId="597933806" sldId="1925"/>
        </pc:sldMkLst>
      </pc:sldChg>
      <pc:sldChg chg="del">
        <pc:chgData name="Aurelien Domont" userId="6da7715ce44349b3" providerId="LiveId" clId="{C523CB9D-DE17-4F66-BAA5-E2467A3E4858}" dt="2021-05-03T08:02:20.197" v="0" actId="47"/>
        <pc:sldMkLst>
          <pc:docMk/>
          <pc:sldMk cId="1874123290" sldId="1926"/>
        </pc:sldMkLst>
      </pc:sldChg>
      <pc:sldChg chg="del">
        <pc:chgData name="Aurelien Domont" userId="6da7715ce44349b3" providerId="LiveId" clId="{C523CB9D-DE17-4F66-BAA5-E2467A3E4858}" dt="2021-05-03T08:02:20.197" v="0" actId="47"/>
        <pc:sldMkLst>
          <pc:docMk/>
          <pc:sldMk cId="235018652" sldId="1927"/>
        </pc:sldMkLst>
      </pc:sldChg>
      <pc:sldChg chg="del">
        <pc:chgData name="Aurelien Domont" userId="6da7715ce44349b3" providerId="LiveId" clId="{C523CB9D-DE17-4F66-BAA5-E2467A3E4858}" dt="2021-05-03T08:02:20.197" v="0" actId="47"/>
        <pc:sldMkLst>
          <pc:docMk/>
          <pc:sldMk cId="1374159068" sldId="1928"/>
        </pc:sldMkLst>
      </pc:sldChg>
      <pc:sldChg chg="del">
        <pc:chgData name="Aurelien Domont" userId="6da7715ce44349b3" providerId="LiveId" clId="{C523CB9D-DE17-4F66-BAA5-E2467A3E4858}" dt="2021-05-03T08:02:20.197" v="0" actId="47"/>
        <pc:sldMkLst>
          <pc:docMk/>
          <pc:sldMk cId="802743741" sldId="1929"/>
        </pc:sldMkLst>
      </pc:sldChg>
      <pc:sldChg chg="del">
        <pc:chgData name="Aurelien Domont" userId="6da7715ce44349b3" providerId="LiveId" clId="{C523CB9D-DE17-4F66-BAA5-E2467A3E4858}" dt="2021-05-03T08:02:20.197" v="0" actId="47"/>
        <pc:sldMkLst>
          <pc:docMk/>
          <pc:sldMk cId="948385396" sldId="1930"/>
        </pc:sldMkLst>
      </pc:sldChg>
      <pc:sldChg chg="del">
        <pc:chgData name="Aurelien Domont" userId="6da7715ce44349b3" providerId="LiveId" clId="{C523CB9D-DE17-4F66-BAA5-E2467A3E4858}" dt="2021-05-03T08:02:20.197" v="0" actId="47"/>
        <pc:sldMkLst>
          <pc:docMk/>
          <pc:sldMk cId="784211076" sldId="1931"/>
        </pc:sldMkLst>
      </pc:sldChg>
      <pc:sldChg chg="del">
        <pc:chgData name="Aurelien Domont" userId="6da7715ce44349b3" providerId="LiveId" clId="{C523CB9D-DE17-4F66-BAA5-E2467A3E4858}" dt="2021-05-03T08:02:20.197" v="0" actId="47"/>
        <pc:sldMkLst>
          <pc:docMk/>
          <pc:sldMk cId="2839386134" sldId="1932"/>
        </pc:sldMkLst>
      </pc:sldChg>
      <pc:sldChg chg="del">
        <pc:chgData name="Aurelien Domont" userId="6da7715ce44349b3" providerId="LiveId" clId="{C523CB9D-DE17-4F66-BAA5-E2467A3E4858}" dt="2021-05-03T08:02:20.197" v="0" actId="47"/>
        <pc:sldMkLst>
          <pc:docMk/>
          <pc:sldMk cId="631546691" sldId="1933"/>
        </pc:sldMkLst>
      </pc:sldChg>
      <pc:sldChg chg="del">
        <pc:chgData name="Aurelien Domont" userId="6da7715ce44349b3" providerId="LiveId" clId="{C523CB9D-DE17-4F66-BAA5-E2467A3E4858}" dt="2021-05-03T08:02:20.197" v="0" actId="47"/>
        <pc:sldMkLst>
          <pc:docMk/>
          <pc:sldMk cId="1360412850" sldId="1934"/>
        </pc:sldMkLst>
      </pc:sldChg>
      <pc:sldChg chg="del">
        <pc:chgData name="Aurelien Domont" userId="6da7715ce44349b3" providerId="LiveId" clId="{C523CB9D-DE17-4F66-BAA5-E2467A3E4858}" dt="2021-05-03T08:02:20.197" v="0" actId="47"/>
        <pc:sldMkLst>
          <pc:docMk/>
          <pc:sldMk cId="317604876" sldId="1935"/>
        </pc:sldMkLst>
      </pc:sldChg>
      <pc:sldChg chg="del">
        <pc:chgData name="Aurelien Domont" userId="6da7715ce44349b3" providerId="LiveId" clId="{C523CB9D-DE17-4F66-BAA5-E2467A3E4858}" dt="2021-05-03T08:02:20.197" v="0" actId="47"/>
        <pc:sldMkLst>
          <pc:docMk/>
          <pc:sldMk cId="580696589" sldId="1936"/>
        </pc:sldMkLst>
      </pc:sldChg>
      <pc:sldChg chg="del">
        <pc:chgData name="Aurelien Domont" userId="6da7715ce44349b3" providerId="LiveId" clId="{C523CB9D-DE17-4F66-BAA5-E2467A3E4858}" dt="2021-05-03T08:02:20.197" v="0" actId="47"/>
        <pc:sldMkLst>
          <pc:docMk/>
          <pc:sldMk cId="2855966363" sldId="1937"/>
        </pc:sldMkLst>
      </pc:sldChg>
      <pc:sldChg chg="del">
        <pc:chgData name="Aurelien Domont" userId="6da7715ce44349b3" providerId="LiveId" clId="{C523CB9D-DE17-4F66-BAA5-E2467A3E4858}" dt="2021-05-03T08:02:20.197" v="0" actId="47"/>
        <pc:sldMkLst>
          <pc:docMk/>
          <pc:sldMk cId="2589605413" sldId="1938"/>
        </pc:sldMkLst>
      </pc:sldChg>
      <pc:sldChg chg="del">
        <pc:chgData name="Aurelien Domont" userId="6da7715ce44349b3" providerId="LiveId" clId="{C523CB9D-DE17-4F66-BAA5-E2467A3E4858}" dt="2021-05-03T08:02:20.197" v="0" actId="47"/>
        <pc:sldMkLst>
          <pc:docMk/>
          <pc:sldMk cId="3714325450" sldId="1939"/>
        </pc:sldMkLst>
      </pc:sldChg>
      <pc:sldChg chg="del">
        <pc:chgData name="Aurelien Domont" userId="6da7715ce44349b3" providerId="LiveId" clId="{C523CB9D-DE17-4F66-BAA5-E2467A3E4858}" dt="2021-05-03T08:02:20.197" v="0" actId="47"/>
        <pc:sldMkLst>
          <pc:docMk/>
          <pc:sldMk cId="1414149744" sldId="1940"/>
        </pc:sldMkLst>
      </pc:sldChg>
      <pc:sldChg chg="del">
        <pc:chgData name="Aurelien Domont" userId="6da7715ce44349b3" providerId="LiveId" clId="{C523CB9D-DE17-4F66-BAA5-E2467A3E4858}" dt="2021-05-03T08:02:20.197" v="0" actId="47"/>
        <pc:sldMkLst>
          <pc:docMk/>
          <pc:sldMk cId="599795422" sldId="1941"/>
        </pc:sldMkLst>
      </pc:sldChg>
      <pc:sldChg chg="del">
        <pc:chgData name="Aurelien Domont" userId="6da7715ce44349b3" providerId="LiveId" clId="{C523CB9D-DE17-4F66-BAA5-E2467A3E4858}" dt="2021-05-03T08:02:20.197" v="0" actId="47"/>
        <pc:sldMkLst>
          <pc:docMk/>
          <pc:sldMk cId="1403188377" sldId="1942"/>
        </pc:sldMkLst>
      </pc:sldChg>
      <pc:sldChg chg="del">
        <pc:chgData name="Aurelien Domont" userId="6da7715ce44349b3" providerId="LiveId" clId="{C523CB9D-DE17-4F66-BAA5-E2467A3E4858}" dt="2021-05-03T08:02:20.197" v="0" actId="47"/>
        <pc:sldMkLst>
          <pc:docMk/>
          <pc:sldMk cId="2977576074" sldId="1943"/>
        </pc:sldMkLst>
      </pc:sldChg>
      <pc:sldChg chg="del">
        <pc:chgData name="Aurelien Domont" userId="6da7715ce44349b3" providerId="LiveId" clId="{C523CB9D-DE17-4F66-BAA5-E2467A3E4858}" dt="2021-05-03T08:02:20.197" v="0" actId="47"/>
        <pc:sldMkLst>
          <pc:docMk/>
          <pc:sldMk cId="1662017462" sldId="1944"/>
        </pc:sldMkLst>
      </pc:sldChg>
      <pc:sldChg chg="del">
        <pc:chgData name="Aurelien Domont" userId="6da7715ce44349b3" providerId="LiveId" clId="{C523CB9D-DE17-4F66-BAA5-E2467A3E4858}" dt="2021-05-03T08:02:20.197" v="0" actId="47"/>
        <pc:sldMkLst>
          <pc:docMk/>
          <pc:sldMk cId="1128419591" sldId="1945"/>
        </pc:sldMkLst>
      </pc:sldChg>
      <pc:sldChg chg="del">
        <pc:chgData name="Aurelien Domont" userId="6da7715ce44349b3" providerId="LiveId" clId="{C523CB9D-DE17-4F66-BAA5-E2467A3E4858}" dt="2021-05-03T08:02:20.197" v="0" actId="47"/>
        <pc:sldMkLst>
          <pc:docMk/>
          <pc:sldMk cId="3950953867" sldId="1946"/>
        </pc:sldMkLst>
      </pc:sldChg>
      <pc:sldChg chg="del">
        <pc:chgData name="Aurelien Domont" userId="6da7715ce44349b3" providerId="LiveId" clId="{C523CB9D-DE17-4F66-BAA5-E2467A3E4858}" dt="2021-05-03T08:02:20.197" v="0" actId="47"/>
        <pc:sldMkLst>
          <pc:docMk/>
          <pc:sldMk cId="1632976083" sldId="1947"/>
        </pc:sldMkLst>
      </pc:sldChg>
      <pc:sldChg chg="del">
        <pc:chgData name="Aurelien Domont" userId="6da7715ce44349b3" providerId="LiveId" clId="{C523CB9D-DE17-4F66-BAA5-E2467A3E4858}" dt="2021-05-03T08:02:20.197" v="0" actId="47"/>
        <pc:sldMkLst>
          <pc:docMk/>
          <pc:sldMk cId="3026069399" sldId="1948"/>
        </pc:sldMkLst>
      </pc:sldChg>
      <pc:sldChg chg="del">
        <pc:chgData name="Aurelien Domont" userId="6da7715ce44349b3" providerId="LiveId" clId="{C523CB9D-DE17-4F66-BAA5-E2467A3E4858}" dt="2021-05-03T08:02:20.197" v="0" actId="47"/>
        <pc:sldMkLst>
          <pc:docMk/>
          <pc:sldMk cId="301689330" sldId="1949"/>
        </pc:sldMkLst>
      </pc:sldChg>
      <pc:sldChg chg="del">
        <pc:chgData name="Aurelien Domont" userId="6da7715ce44349b3" providerId="LiveId" clId="{C523CB9D-DE17-4F66-BAA5-E2467A3E4858}" dt="2021-05-03T08:02:20.197" v="0" actId="47"/>
        <pc:sldMkLst>
          <pc:docMk/>
          <pc:sldMk cId="2802637173" sldId="1950"/>
        </pc:sldMkLst>
      </pc:sldChg>
      <pc:sldChg chg="del">
        <pc:chgData name="Aurelien Domont" userId="6da7715ce44349b3" providerId="LiveId" clId="{C523CB9D-DE17-4F66-BAA5-E2467A3E4858}" dt="2021-05-03T08:02:20.197" v="0" actId="47"/>
        <pc:sldMkLst>
          <pc:docMk/>
          <pc:sldMk cId="799750334" sldId="1951"/>
        </pc:sldMkLst>
      </pc:sldChg>
      <pc:sldChg chg="del">
        <pc:chgData name="Aurelien Domont" userId="6da7715ce44349b3" providerId="LiveId" clId="{C523CB9D-DE17-4F66-BAA5-E2467A3E4858}" dt="2021-05-03T08:02:20.197" v="0" actId="47"/>
        <pc:sldMkLst>
          <pc:docMk/>
          <pc:sldMk cId="2365333669" sldId="1952"/>
        </pc:sldMkLst>
      </pc:sldChg>
      <pc:sldChg chg="del">
        <pc:chgData name="Aurelien Domont" userId="6da7715ce44349b3" providerId="LiveId" clId="{C523CB9D-DE17-4F66-BAA5-E2467A3E4858}" dt="2021-05-03T08:02:20.197" v="0" actId="47"/>
        <pc:sldMkLst>
          <pc:docMk/>
          <pc:sldMk cId="931823183" sldId="1953"/>
        </pc:sldMkLst>
      </pc:sldChg>
      <pc:sldChg chg="del">
        <pc:chgData name="Aurelien Domont" userId="6da7715ce44349b3" providerId="LiveId" clId="{C523CB9D-DE17-4F66-BAA5-E2467A3E4858}" dt="2021-05-03T08:02:20.197" v="0" actId="47"/>
        <pc:sldMkLst>
          <pc:docMk/>
          <pc:sldMk cId="636448820" sldId="1954"/>
        </pc:sldMkLst>
      </pc:sldChg>
      <pc:sldChg chg="del">
        <pc:chgData name="Aurelien Domont" userId="6da7715ce44349b3" providerId="LiveId" clId="{C523CB9D-DE17-4F66-BAA5-E2467A3E4858}" dt="2021-05-03T08:02:20.197" v="0" actId="47"/>
        <pc:sldMkLst>
          <pc:docMk/>
          <pc:sldMk cId="660112904" sldId="1955"/>
        </pc:sldMkLst>
      </pc:sldChg>
      <pc:sldChg chg="del">
        <pc:chgData name="Aurelien Domont" userId="6da7715ce44349b3" providerId="LiveId" clId="{C523CB9D-DE17-4F66-BAA5-E2467A3E4858}" dt="2021-05-03T08:02:20.197" v="0" actId="47"/>
        <pc:sldMkLst>
          <pc:docMk/>
          <pc:sldMk cId="387956599" sldId="1956"/>
        </pc:sldMkLst>
      </pc:sldChg>
      <pc:sldChg chg="del">
        <pc:chgData name="Aurelien Domont" userId="6da7715ce44349b3" providerId="LiveId" clId="{C523CB9D-DE17-4F66-BAA5-E2467A3E4858}" dt="2021-05-03T08:02:20.197" v="0" actId="47"/>
        <pc:sldMkLst>
          <pc:docMk/>
          <pc:sldMk cId="2207806883" sldId="1957"/>
        </pc:sldMkLst>
      </pc:sldChg>
      <pc:sldChg chg="del">
        <pc:chgData name="Aurelien Domont" userId="6da7715ce44349b3" providerId="LiveId" clId="{C523CB9D-DE17-4F66-BAA5-E2467A3E4858}" dt="2021-05-03T08:02:20.197" v="0" actId="47"/>
        <pc:sldMkLst>
          <pc:docMk/>
          <pc:sldMk cId="7362875" sldId="1958"/>
        </pc:sldMkLst>
      </pc:sldChg>
      <pc:sldChg chg="del">
        <pc:chgData name="Aurelien Domont" userId="6da7715ce44349b3" providerId="LiveId" clId="{C523CB9D-DE17-4F66-BAA5-E2467A3E4858}" dt="2021-05-03T08:02:20.197" v="0" actId="47"/>
        <pc:sldMkLst>
          <pc:docMk/>
          <pc:sldMk cId="1662162763" sldId="1959"/>
        </pc:sldMkLst>
      </pc:sldChg>
      <pc:sldChg chg="del">
        <pc:chgData name="Aurelien Domont" userId="6da7715ce44349b3" providerId="LiveId" clId="{C523CB9D-DE17-4F66-BAA5-E2467A3E4858}" dt="2021-05-03T08:02:20.197" v="0" actId="47"/>
        <pc:sldMkLst>
          <pc:docMk/>
          <pc:sldMk cId="1380287118" sldId="1960"/>
        </pc:sldMkLst>
      </pc:sldChg>
      <pc:sldChg chg="del">
        <pc:chgData name="Aurelien Domont" userId="6da7715ce44349b3" providerId="LiveId" clId="{C523CB9D-DE17-4F66-BAA5-E2467A3E4858}" dt="2021-05-03T08:02:20.197" v="0" actId="47"/>
        <pc:sldMkLst>
          <pc:docMk/>
          <pc:sldMk cId="2862939476" sldId="1961"/>
        </pc:sldMkLst>
      </pc:sldChg>
      <pc:sldChg chg="del">
        <pc:chgData name="Aurelien Domont" userId="6da7715ce44349b3" providerId="LiveId" clId="{C523CB9D-DE17-4F66-BAA5-E2467A3E4858}" dt="2021-05-03T08:02:20.197" v="0" actId="47"/>
        <pc:sldMkLst>
          <pc:docMk/>
          <pc:sldMk cId="1371325009" sldId="1963"/>
        </pc:sldMkLst>
      </pc:sldChg>
      <pc:sldChg chg="del">
        <pc:chgData name="Aurelien Domont" userId="6da7715ce44349b3" providerId="LiveId" clId="{C523CB9D-DE17-4F66-BAA5-E2467A3E4858}" dt="2021-05-03T08:02:20.197" v="0" actId="47"/>
        <pc:sldMkLst>
          <pc:docMk/>
          <pc:sldMk cId="2434730998" sldId="1964"/>
        </pc:sldMkLst>
      </pc:sldChg>
      <pc:sldChg chg="del">
        <pc:chgData name="Aurelien Domont" userId="6da7715ce44349b3" providerId="LiveId" clId="{C523CB9D-DE17-4F66-BAA5-E2467A3E4858}" dt="2021-05-03T08:02:20.197" v="0" actId="47"/>
        <pc:sldMkLst>
          <pc:docMk/>
          <pc:sldMk cId="2118611170" sldId="1965"/>
        </pc:sldMkLst>
      </pc:sldChg>
      <pc:sldChg chg="del">
        <pc:chgData name="Aurelien Domont" userId="6da7715ce44349b3" providerId="LiveId" clId="{C523CB9D-DE17-4F66-BAA5-E2467A3E4858}" dt="2021-05-03T08:02:20.197" v="0" actId="47"/>
        <pc:sldMkLst>
          <pc:docMk/>
          <pc:sldMk cId="708328687" sldId="1966"/>
        </pc:sldMkLst>
      </pc:sldChg>
      <pc:sldChg chg="del">
        <pc:chgData name="Aurelien Domont" userId="6da7715ce44349b3" providerId="LiveId" clId="{C523CB9D-DE17-4F66-BAA5-E2467A3E4858}" dt="2021-05-03T08:02:20.197" v="0" actId="47"/>
        <pc:sldMkLst>
          <pc:docMk/>
          <pc:sldMk cId="3081941897" sldId="1967"/>
        </pc:sldMkLst>
      </pc:sldChg>
      <pc:sldChg chg="del">
        <pc:chgData name="Aurelien Domont" userId="6da7715ce44349b3" providerId="LiveId" clId="{C523CB9D-DE17-4F66-BAA5-E2467A3E4858}" dt="2021-05-03T08:02:20.197" v="0" actId="47"/>
        <pc:sldMkLst>
          <pc:docMk/>
          <pc:sldMk cId="3440858440" sldId="1968"/>
        </pc:sldMkLst>
      </pc:sldChg>
      <pc:sldChg chg="del">
        <pc:chgData name="Aurelien Domont" userId="6da7715ce44349b3" providerId="LiveId" clId="{C523CB9D-DE17-4F66-BAA5-E2467A3E4858}" dt="2021-05-03T08:02:20.197" v="0" actId="47"/>
        <pc:sldMkLst>
          <pc:docMk/>
          <pc:sldMk cId="3954766657" sldId="1969"/>
        </pc:sldMkLst>
      </pc:sldChg>
      <pc:sldChg chg="del">
        <pc:chgData name="Aurelien Domont" userId="6da7715ce44349b3" providerId="LiveId" clId="{C523CB9D-DE17-4F66-BAA5-E2467A3E4858}" dt="2021-05-03T08:02:20.197" v="0" actId="47"/>
        <pc:sldMkLst>
          <pc:docMk/>
          <pc:sldMk cId="668275467" sldId="1970"/>
        </pc:sldMkLst>
      </pc:sldChg>
      <pc:sldChg chg="del">
        <pc:chgData name="Aurelien Domont" userId="6da7715ce44349b3" providerId="LiveId" clId="{C523CB9D-DE17-4F66-BAA5-E2467A3E4858}" dt="2021-05-03T08:02:20.197" v="0" actId="47"/>
        <pc:sldMkLst>
          <pc:docMk/>
          <pc:sldMk cId="529194852" sldId="1971"/>
        </pc:sldMkLst>
      </pc:sldChg>
      <pc:sldChg chg="del">
        <pc:chgData name="Aurelien Domont" userId="6da7715ce44349b3" providerId="LiveId" clId="{C523CB9D-DE17-4F66-BAA5-E2467A3E4858}" dt="2021-05-03T08:02:20.197" v="0" actId="47"/>
        <pc:sldMkLst>
          <pc:docMk/>
          <pc:sldMk cId="2410991361" sldId="1972"/>
        </pc:sldMkLst>
      </pc:sldChg>
      <pc:sldChg chg="del">
        <pc:chgData name="Aurelien Domont" userId="6da7715ce44349b3" providerId="LiveId" clId="{C523CB9D-DE17-4F66-BAA5-E2467A3E4858}" dt="2021-05-03T08:02:20.197" v="0" actId="47"/>
        <pc:sldMkLst>
          <pc:docMk/>
          <pc:sldMk cId="2653177920" sldId="1973"/>
        </pc:sldMkLst>
      </pc:sldChg>
      <pc:sldChg chg="del">
        <pc:chgData name="Aurelien Domont" userId="6da7715ce44349b3" providerId="LiveId" clId="{C523CB9D-DE17-4F66-BAA5-E2467A3E4858}" dt="2021-05-03T08:02:20.197" v="0" actId="47"/>
        <pc:sldMkLst>
          <pc:docMk/>
          <pc:sldMk cId="1373862011" sldId="1974"/>
        </pc:sldMkLst>
      </pc:sldChg>
      <pc:sldChg chg="del">
        <pc:chgData name="Aurelien Domont" userId="6da7715ce44349b3" providerId="LiveId" clId="{C523CB9D-DE17-4F66-BAA5-E2467A3E4858}" dt="2021-05-03T08:02:20.197" v="0" actId="47"/>
        <pc:sldMkLst>
          <pc:docMk/>
          <pc:sldMk cId="2119972109" sldId="1975"/>
        </pc:sldMkLst>
      </pc:sldChg>
      <pc:sldChg chg="del">
        <pc:chgData name="Aurelien Domont" userId="6da7715ce44349b3" providerId="LiveId" clId="{C523CB9D-DE17-4F66-BAA5-E2467A3E4858}" dt="2021-05-03T08:02:20.197" v="0" actId="47"/>
        <pc:sldMkLst>
          <pc:docMk/>
          <pc:sldMk cId="2078645186" sldId="1976"/>
        </pc:sldMkLst>
      </pc:sldChg>
      <pc:sldChg chg="del">
        <pc:chgData name="Aurelien Domont" userId="6da7715ce44349b3" providerId="LiveId" clId="{C523CB9D-DE17-4F66-BAA5-E2467A3E4858}" dt="2021-05-03T08:02:20.197" v="0" actId="47"/>
        <pc:sldMkLst>
          <pc:docMk/>
          <pc:sldMk cId="2474191175" sldId="1977"/>
        </pc:sldMkLst>
      </pc:sldChg>
      <pc:sldChg chg="del">
        <pc:chgData name="Aurelien Domont" userId="6da7715ce44349b3" providerId="LiveId" clId="{C523CB9D-DE17-4F66-BAA5-E2467A3E4858}" dt="2021-05-03T08:02:20.197" v="0" actId="47"/>
        <pc:sldMkLst>
          <pc:docMk/>
          <pc:sldMk cId="4089601017" sldId="1978"/>
        </pc:sldMkLst>
      </pc:sldChg>
      <pc:sldChg chg="del">
        <pc:chgData name="Aurelien Domont" userId="6da7715ce44349b3" providerId="LiveId" clId="{C523CB9D-DE17-4F66-BAA5-E2467A3E4858}" dt="2021-05-03T08:02:20.197" v="0" actId="47"/>
        <pc:sldMkLst>
          <pc:docMk/>
          <pc:sldMk cId="2403768916" sldId="1979"/>
        </pc:sldMkLst>
      </pc:sldChg>
      <pc:sldChg chg="del">
        <pc:chgData name="Aurelien Domont" userId="6da7715ce44349b3" providerId="LiveId" clId="{C523CB9D-DE17-4F66-BAA5-E2467A3E4858}" dt="2021-05-03T08:02:20.197" v="0" actId="47"/>
        <pc:sldMkLst>
          <pc:docMk/>
          <pc:sldMk cId="3828206272" sldId="1980"/>
        </pc:sldMkLst>
      </pc:sldChg>
      <pc:sldChg chg="del">
        <pc:chgData name="Aurelien Domont" userId="6da7715ce44349b3" providerId="LiveId" clId="{C523CB9D-DE17-4F66-BAA5-E2467A3E4858}" dt="2021-05-03T08:02:20.197" v="0" actId="47"/>
        <pc:sldMkLst>
          <pc:docMk/>
          <pc:sldMk cId="1691820959" sldId="1981"/>
        </pc:sldMkLst>
      </pc:sldChg>
      <pc:sldChg chg="del">
        <pc:chgData name="Aurelien Domont" userId="6da7715ce44349b3" providerId="LiveId" clId="{C523CB9D-DE17-4F66-BAA5-E2467A3E4858}" dt="2021-05-03T08:02:20.197" v="0" actId="47"/>
        <pc:sldMkLst>
          <pc:docMk/>
          <pc:sldMk cId="3425621628" sldId="1982"/>
        </pc:sldMkLst>
      </pc:sldChg>
      <pc:sldChg chg="del">
        <pc:chgData name="Aurelien Domont" userId="6da7715ce44349b3" providerId="LiveId" clId="{C523CB9D-DE17-4F66-BAA5-E2467A3E4858}" dt="2021-05-03T08:02:20.197" v="0" actId="47"/>
        <pc:sldMkLst>
          <pc:docMk/>
          <pc:sldMk cId="978935005" sldId="1983"/>
        </pc:sldMkLst>
      </pc:sldChg>
      <pc:sldChg chg="del">
        <pc:chgData name="Aurelien Domont" userId="6da7715ce44349b3" providerId="LiveId" clId="{C523CB9D-DE17-4F66-BAA5-E2467A3E4858}" dt="2021-05-03T08:02:20.197" v="0" actId="47"/>
        <pc:sldMkLst>
          <pc:docMk/>
          <pc:sldMk cId="2297949056" sldId="1984"/>
        </pc:sldMkLst>
      </pc:sldChg>
      <pc:sldChg chg="del">
        <pc:chgData name="Aurelien Domont" userId="6da7715ce44349b3" providerId="LiveId" clId="{C523CB9D-DE17-4F66-BAA5-E2467A3E4858}" dt="2021-05-03T08:02:20.197" v="0" actId="47"/>
        <pc:sldMkLst>
          <pc:docMk/>
          <pc:sldMk cId="1823605290" sldId="1985"/>
        </pc:sldMkLst>
      </pc:sldChg>
      <pc:sldChg chg="del">
        <pc:chgData name="Aurelien Domont" userId="6da7715ce44349b3" providerId="LiveId" clId="{C523CB9D-DE17-4F66-BAA5-E2467A3E4858}" dt="2021-05-03T08:02:20.197" v="0" actId="47"/>
        <pc:sldMkLst>
          <pc:docMk/>
          <pc:sldMk cId="1026744296" sldId="1986"/>
        </pc:sldMkLst>
      </pc:sldChg>
      <pc:sldChg chg="del">
        <pc:chgData name="Aurelien Domont" userId="6da7715ce44349b3" providerId="LiveId" clId="{C523CB9D-DE17-4F66-BAA5-E2467A3E4858}" dt="2021-05-03T08:02:20.197" v="0" actId="47"/>
        <pc:sldMkLst>
          <pc:docMk/>
          <pc:sldMk cId="1357942581" sldId="1987"/>
        </pc:sldMkLst>
      </pc:sldChg>
      <pc:sldChg chg="del">
        <pc:chgData name="Aurelien Domont" userId="6da7715ce44349b3" providerId="LiveId" clId="{C523CB9D-DE17-4F66-BAA5-E2467A3E4858}" dt="2021-05-03T08:02:20.197" v="0" actId="47"/>
        <pc:sldMkLst>
          <pc:docMk/>
          <pc:sldMk cId="1940386508" sldId="1988"/>
        </pc:sldMkLst>
      </pc:sldChg>
      <pc:sldChg chg="del">
        <pc:chgData name="Aurelien Domont" userId="6da7715ce44349b3" providerId="LiveId" clId="{C523CB9D-DE17-4F66-BAA5-E2467A3E4858}" dt="2021-05-03T08:02:20.197" v="0" actId="47"/>
        <pc:sldMkLst>
          <pc:docMk/>
          <pc:sldMk cId="2299758324" sldId="1989"/>
        </pc:sldMkLst>
      </pc:sldChg>
      <pc:sldChg chg="del">
        <pc:chgData name="Aurelien Domont" userId="6da7715ce44349b3" providerId="LiveId" clId="{C523CB9D-DE17-4F66-BAA5-E2467A3E4858}" dt="2021-05-03T08:02:20.197" v="0" actId="47"/>
        <pc:sldMkLst>
          <pc:docMk/>
          <pc:sldMk cId="1124419684" sldId="1990"/>
        </pc:sldMkLst>
      </pc:sldChg>
      <pc:sldChg chg="del">
        <pc:chgData name="Aurelien Domont" userId="6da7715ce44349b3" providerId="LiveId" clId="{C523CB9D-DE17-4F66-BAA5-E2467A3E4858}" dt="2021-05-03T08:02:20.197" v="0" actId="47"/>
        <pc:sldMkLst>
          <pc:docMk/>
          <pc:sldMk cId="205289071" sldId="1991"/>
        </pc:sldMkLst>
      </pc:sldChg>
      <pc:sldChg chg="del">
        <pc:chgData name="Aurelien Domont" userId="6da7715ce44349b3" providerId="LiveId" clId="{C523CB9D-DE17-4F66-BAA5-E2467A3E4858}" dt="2021-05-03T08:02:20.197" v="0" actId="47"/>
        <pc:sldMkLst>
          <pc:docMk/>
          <pc:sldMk cId="3239629277" sldId="1992"/>
        </pc:sldMkLst>
      </pc:sldChg>
      <pc:sldChg chg="del">
        <pc:chgData name="Aurelien Domont" userId="6da7715ce44349b3" providerId="LiveId" clId="{C523CB9D-DE17-4F66-BAA5-E2467A3E4858}" dt="2021-05-03T08:02:20.197" v="0" actId="47"/>
        <pc:sldMkLst>
          <pc:docMk/>
          <pc:sldMk cId="1752228771" sldId="1993"/>
        </pc:sldMkLst>
      </pc:sldChg>
      <pc:sldChg chg="del">
        <pc:chgData name="Aurelien Domont" userId="6da7715ce44349b3" providerId="LiveId" clId="{C523CB9D-DE17-4F66-BAA5-E2467A3E4858}" dt="2021-05-03T08:02:20.197" v="0" actId="47"/>
        <pc:sldMkLst>
          <pc:docMk/>
          <pc:sldMk cId="1158613024" sldId="1994"/>
        </pc:sldMkLst>
      </pc:sldChg>
      <pc:sldChg chg="del">
        <pc:chgData name="Aurelien Domont" userId="6da7715ce44349b3" providerId="LiveId" clId="{C523CB9D-DE17-4F66-BAA5-E2467A3E4858}" dt="2021-05-03T08:02:20.197" v="0" actId="47"/>
        <pc:sldMkLst>
          <pc:docMk/>
          <pc:sldMk cId="3526698175" sldId="1995"/>
        </pc:sldMkLst>
      </pc:sldChg>
      <pc:sldChg chg="del">
        <pc:chgData name="Aurelien Domont" userId="6da7715ce44349b3" providerId="LiveId" clId="{C523CB9D-DE17-4F66-BAA5-E2467A3E4858}" dt="2021-05-03T08:02:20.197" v="0" actId="47"/>
        <pc:sldMkLst>
          <pc:docMk/>
          <pc:sldMk cId="3049023689" sldId="1996"/>
        </pc:sldMkLst>
      </pc:sldChg>
      <pc:sldChg chg="del">
        <pc:chgData name="Aurelien Domont" userId="6da7715ce44349b3" providerId="LiveId" clId="{C523CB9D-DE17-4F66-BAA5-E2467A3E4858}" dt="2021-05-03T08:02:20.197" v="0" actId="47"/>
        <pc:sldMkLst>
          <pc:docMk/>
          <pc:sldMk cId="1142596438" sldId="1997"/>
        </pc:sldMkLst>
      </pc:sldChg>
      <pc:sldChg chg="del">
        <pc:chgData name="Aurelien Domont" userId="6da7715ce44349b3" providerId="LiveId" clId="{C523CB9D-DE17-4F66-BAA5-E2467A3E4858}" dt="2021-05-03T08:02:20.197" v="0" actId="47"/>
        <pc:sldMkLst>
          <pc:docMk/>
          <pc:sldMk cId="2206188045" sldId="1998"/>
        </pc:sldMkLst>
      </pc:sldChg>
      <pc:sldChg chg="del">
        <pc:chgData name="Aurelien Domont" userId="6da7715ce44349b3" providerId="LiveId" clId="{C523CB9D-DE17-4F66-BAA5-E2467A3E4858}" dt="2021-05-03T08:02:20.197" v="0" actId="47"/>
        <pc:sldMkLst>
          <pc:docMk/>
          <pc:sldMk cId="3928808042" sldId="1999"/>
        </pc:sldMkLst>
      </pc:sldChg>
      <pc:sldChg chg="del">
        <pc:chgData name="Aurelien Domont" userId="6da7715ce44349b3" providerId="LiveId" clId="{C523CB9D-DE17-4F66-BAA5-E2467A3E4858}" dt="2021-05-03T08:02:20.197" v="0" actId="47"/>
        <pc:sldMkLst>
          <pc:docMk/>
          <pc:sldMk cId="3600611330" sldId="2000"/>
        </pc:sldMkLst>
      </pc:sldChg>
      <pc:sldChg chg="del">
        <pc:chgData name="Aurelien Domont" userId="6da7715ce44349b3" providerId="LiveId" clId="{C523CB9D-DE17-4F66-BAA5-E2467A3E4858}" dt="2021-05-03T08:02:20.197" v="0" actId="47"/>
        <pc:sldMkLst>
          <pc:docMk/>
          <pc:sldMk cId="494454371" sldId="2001"/>
        </pc:sldMkLst>
      </pc:sldChg>
      <pc:sldChg chg="del">
        <pc:chgData name="Aurelien Domont" userId="6da7715ce44349b3" providerId="LiveId" clId="{C523CB9D-DE17-4F66-BAA5-E2467A3E4858}" dt="2021-05-03T08:02:20.197" v="0" actId="47"/>
        <pc:sldMkLst>
          <pc:docMk/>
          <pc:sldMk cId="3160285512" sldId="2002"/>
        </pc:sldMkLst>
      </pc:sldChg>
      <pc:sldChg chg="del">
        <pc:chgData name="Aurelien Domont" userId="6da7715ce44349b3" providerId="LiveId" clId="{C523CB9D-DE17-4F66-BAA5-E2467A3E4858}" dt="2021-05-03T08:02:20.197" v="0" actId="47"/>
        <pc:sldMkLst>
          <pc:docMk/>
          <pc:sldMk cId="2011482222" sldId="2003"/>
        </pc:sldMkLst>
      </pc:sldChg>
      <pc:sldChg chg="del">
        <pc:chgData name="Aurelien Domont" userId="6da7715ce44349b3" providerId="LiveId" clId="{C523CB9D-DE17-4F66-BAA5-E2467A3E4858}" dt="2021-05-03T08:02:20.197" v="0" actId="47"/>
        <pc:sldMkLst>
          <pc:docMk/>
          <pc:sldMk cId="235415864" sldId="2004"/>
        </pc:sldMkLst>
      </pc:sldChg>
      <pc:sldChg chg="del">
        <pc:chgData name="Aurelien Domont" userId="6da7715ce44349b3" providerId="LiveId" clId="{C523CB9D-DE17-4F66-BAA5-E2467A3E4858}" dt="2021-05-03T08:02:20.197" v="0" actId="47"/>
        <pc:sldMkLst>
          <pc:docMk/>
          <pc:sldMk cId="673232207" sldId="2005"/>
        </pc:sldMkLst>
      </pc:sldChg>
      <pc:sldChg chg="del">
        <pc:chgData name="Aurelien Domont" userId="6da7715ce44349b3" providerId="LiveId" clId="{C523CB9D-DE17-4F66-BAA5-E2467A3E4858}" dt="2021-05-03T08:02:20.197" v="0" actId="47"/>
        <pc:sldMkLst>
          <pc:docMk/>
          <pc:sldMk cId="539105764" sldId="2006"/>
        </pc:sldMkLst>
      </pc:sldChg>
      <pc:sldChg chg="del">
        <pc:chgData name="Aurelien Domont" userId="6da7715ce44349b3" providerId="LiveId" clId="{C523CB9D-DE17-4F66-BAA5-E2467A3E4858}" dt="2021-05-03T08:02:20.197" v="0" actId="47"/>
        <pc:sldMkLst>
          <pc:docMk/>
          <pc:sldMk cId="1585643901" sldId="2007"/>
        </pc:sldMkLst>
      </pc:sldChg>
      <pc:sldChg chg="del">
        <pc:chgData name="Aurelien Domont" userId="6da7715ce44349b3" providerId="LiveId" clId="{C523CB9D-DE17-4F66-BAA5-E2467A3E4858}" dt="2021-05-03T08:02:20.197" v="0" actId="47"/>
        <pc:sldMkLst>
          <pc:docMk/>
          <pc:sldMk cId="153376507" sldId="2008"/>
        </pc:sldMkLst>
      </pc:sldChg>
      <pc:sldChg chg="del">
        <pc:chgData name="Aurelien Domont" userId="6da7715ce44349b3" providerId="LiveId" clId="{C523CB9D-DE17-4F66-BAA5-E2467A3E4858}" dt="2021-05-03T08:02:20.197" v="0" actId="47"/>
        <pc:sldMkLst>
          <pc:docMk/>
          <pc:sldMk cId="938136842" sldId="2010"/>
        </pc:sldMkLst>
      </pc:sldChg>
      <pc:sldChg chg="del">
        <pc:chgData name="Aurelien Domont" userId="6da7715ce44349b3" providerId="LiveId" clId="{C523CB9D-DE17-4F66-BAA5-E2467A3E4858}" dt="2021-05-03T08:02:20.197" v="0" actId="47"/>
        <pc:sldMkLst>
          <pc:docMk/>
          <pc:sldMk cId="2968255840" sldId="2011"/>
        </pc:sldMkLst>
      </pc:sldChg>
      <pc:sldChg chg="del">
        <pc:chgData name="Aurelien Domont" userId="6da7715ce44349b3" providerId="LiveId" clId="{C523CB9D-DE17-4F66-BAA5-E2467A3E4858}" dt="2021-05-03T08:02:20.197" v="0" actId="47"/>
        <pc:sldMkLst>
          <pc:docMk/>
          <pc:sldMk cId="2300727758" sldId="2012"/>
        </pc:sldMkLst>
      </pc:sldChg>
      <pc:sldChg chg="del">
        <pc:chgData name="Aurelien Domont" userId="6da7715ce44349b3" providerId="LiveId" clId="{C523CB9D-DE17-4F66-BAA5-E2467A3E4858}" dt="2021-05-03T08:02:20.197" v="0" actId="47"/>
        <pc:sldMkLst>
          <pc:docMk/>
          <pc:sldMk cId="2690714282" sldId="2013"/>
        </pc:sldMkLst>
      </pc:sldChg>
      <pc:sldChg chg="del">
        <pc:chgData name="Aurelien Domont" userId="6da7715ce44349b3" providerId="LiveId" clId="{C523CB9D-DE17-4F66-BAA5-E2467A3E4858}" dt="2021-05-03T08:02:20.197" v="0" actId="47"/>
        <pc:sldMkLst>
          <pc:docMk/>
          <pc:sldMk cId="2140429196" sldId="2014"/>
        </pc:sldMkLst>
      </pc:sldChg>
      <pc:sldChg chg="del">
        <pc:chgData name="Aurelien Domont" userId="6da7715ce44349b3" providerId="LiveId" clId="{C523CB9D-DE17-4F66-BAA5-E2467A3E4858}" dt="2021-05-03T08:02:20.197" v="0" actId="47"/>
        <pc:sldMkLst>
          <pc:docMk/>
          <pc:sldMk cId="1874727100" sldId="2015"/>
        </pc:sldMkLst>
      </pc:sldChg>
      <pc:sldChg chg="del">
        <pc:chgData name="Aurelien Domont" userId="6da7715ce44349b3" providerId="LiveId" clId="{C523CB9D-DE17-4F66-BAA5-E2467A3E4858}" dt="2021-05-03T08:02:20.197" v="0" actId="47"/>
        <pc:sldMkLst>
          <pc:docMk/>
          <pc:sldMk cId="2219283537" sldId="2016"/>
        </pc:sldMkLst>
      </pc:sldChg>
      <pc:sldChg chg="del">
        <pc:chgData name="Aurelien Domont" userId="6da7715ce44349b3" providerId="LiveId" clId="{C523CB9D-DE17-4F66-BAA5-E2467A3E4858}" dt="2021-05-03T08:02:20.197" v="0" actId="47"/>
        <pc:sldMkLst>
          <pc:docMk/>
          <pc:sldMk cId="786852373" sldId="2017"/>
        </pc:sldMkLst>
      </pc:sldChg>
      <pc:sldChg chg="del">
        <pc:chgData name="Aurelien Domont" userId="6da7715ce44349b3" providerId="LiveId" clId="{C523CB9D-DE17-4F66-BAA5-E2467A3E4858}" dt="2021-05-03T08:02:20.197" v="0" actId="47"/>
        <pc:sldMkLst>
          <pc:docMk/>
          <pc:sldMk cId="1850178084" sldId="2018"/>
        </pc:sldMkLst>
      </pc:sldChg>
      <pc:sldChg chg="del">
        <pc:chgData name="Aurelien Domont" userId="6da7715ce44349b3" providerId="LiveId" clId="{C523CB9D-DE17-4F66-BAA5-E2467A3E4858}" dt="2021-05-03T08:02:20.197" v="0" actId="47"/>
        <pc:sldMkLst>
          <pc:docMk/>
          <pc:sldMk cId="1391445569" sldId="2019"/>
        </pc:sldMkLst>
      </pc:sldChg>
      <pc:sldChg chg="del">
        <pc:chgData name="Aurelien Domont" userId="6da7715ce44349b3" providerId="LiveId" clId="{C523CB9D-DE17-4F66-BAA5-E2467A3E4858}" dt="2021-05-03T08:02:20.197" v="0" actId="47"/>
        <pc:sldMkLst>
          <pc:docMk/>
          <pc:sldMk cId="833432062" sldId="2020"/>
        </pc:sldMkLst>
      </pc:sldChg>
      <pc:sldChg chg="del">
        <pc:chgData name="Aurelien Domont" userId="6da7715ce44349b3" providerId="LiveId" clId="{C523CB9D-DE17-4F66-BAA5-E2467A3E4858}" dt="2021-05-03T08:02:20.197" v="0" actId="47"/>
        <pc:sldMkLst>
          <pc:docMk/>
          <pc:sldMk cId="1884153820" sldId="2021"/>
        </pc:sldMkLst>
      </pc:sldChg>
      <pc:sldChg chg="del">
        <pc:chgData name="Aurelien Domont" userId="6da7715ce44349b3" providerId="LiveId" clId="{C523CB9D-DE17-4F66-BAA5-E2467A3E4858}" dt="2021-05-03T08:02:20.197" v="0" actId="47"/>
        <pc:sldMkLst>
          <pc:docMk/>
          <pc:sldMk cId="3266627109" sldId="2022"/>
        </pc:sldMkLst>
      </pc:sldChg>
      <pc:sldChg chg="del">
        <pc:chgData name="Aurelien Domont" userId="6da7715ce44349b3" providerId="LiveId" clId="{C523CB9D-DE17-4F66-BAA5-E2467A3E4858}" dt="2021-05-03T08:02:20.197" v="0" actId="47"/>
        <pc:sldMkLst>
          <pc:docMk/>
          <pc:sldMk cId="1720365225" sldId="2023"/>
        </pc:sldMkLst>
      </pc:sldChg>
      <pc:sldChg chg="del">
        <pc:chgData name="Aurelien Domont" userId="6da7715ce44349b3" providerId="LiveId" clId="{C523CB9D-DE17-4F66-BAA5-E2467A3E4858}" dt="2021-05-03T08:02:20.197" v="0" actId="47"/>
        <pc:sldMkLst>
          <pc:docMk/>
          <pc:sldMk cId="2200437321" sldId="2024"/>
        </pc:sldMkLst>
      </pc:sldChg>
      <pc:sldChg chg="del">
        <pc:chgData name="Aurelien Domont" userId="6da7715ce44349b3" providerId="LiveId" clId="{C523CB9D-DE17-4F66-BAA5-E2467A3E4858}" dt="2021-05-03T08:02:20.197" v="0" actId="47"/>
        <pc:sldMkLst>
          <pc:docMk/>
          <pc:sldMk cId="2510494898" sldId="2025"/>
        </pc:sldMkLst>
      </pc:sldChg>
      <pc:sldChg chg="del">
        <pc:chgData name="Aurelien Domont" userId="6da7715ce44349b3" providerId="LiveId" clId="{C523CB9D-DE17-4F66-BAA5-E2467A3E4858}" dt="2021-05-03T08:02:20.197" v="0" actId="47"/>
        <pc:sldMkLst>
          <pc:docMk/>
          <pc:sldMk cId="4191176648" sldId="2026"/>
        </pc:sldMkLst>
      </pc:sldChg>
      <pc:sldChg chg="del">
        <pc:chgData name="Aurelien Domont" userId="6da7715ce44349b3" providerId="LiveId" clId="{C523CB9D-DE17-4F66-BAA5-E2467A3E4858}" dt="2021-05-03T08:02:20.197" v="0" actId="47"/>
        <pc:sldMkLst>
          <pc:docMk/>
          <pc:sldMk cId="4065434126" sldId="2027"/>
        </pc:sldMkLst>
      </pc:sldChg>
      <pc:sldChg chg="del">
        <pc:chgData name="Aurelien Domont" userId="6da7715ce44349b3" providerId="LiveId" clId="{C523CB9D-DE17-4F66-BAA5-E2467A3E4858}" dt="2021-05-03T08:02:20.197" v="0" actId="47"/>
        <pc:sldMkLst>
          <pc:docMk/>
          <pc:sldMk cId="724289588" sldId="2028"/>
        </pc:sldMkLst>
      </pc:sldChg>
      <pc:sldChg chg="del">
        <pc:chgData name="Aurelien Domont" userId="6da7715ce44349b3" providerId="LiveId" clId="{C523CB9D-DE17-4F66-BAA5-E2467A3E4858}" dt="2021-05-03T08:02:20.197" v="0" actId="47"/>
        <pc:sldMkLst>
          <pc:docMk/>
          <pc:sldMk cId="1151893028" sldId="2029"/>
        </pc:sldMkLst>
      </pc:sldChg>
      <pc:sldChg chg="del">
        <pc:chgData name="Aurelien Domont" userId="6da7715ce44349b3" providerId="LiveId" clId="{C523CB9D-DE17-4F66-BAA5-E2467A3E4858}" dt="2021-05-03T08:02:20.197" v="0" actId="47"/>
        <pc:sldMkLst>
          <pc:docMk/>
          <pc:sldMk cId="3518638678" sldId="2030"/>
        </pc:sldMkLst>
      </pc:sldChg>
      <pc:sldChg chg="del">
        <pc:chgData name="Aurelien Domont" userId="6da7715ce44349b3" providerId="LiveId" clId="{C523CB9D-DE17-4F66-BAA5-E2467A3E4858}" dt="2021-05-03T08:02:20.197" v="0" actId="47"/>
        <pc:sldMkLst>
          <pc:docMk/>
          <pc:sldMk cId="3867219056" sldId="2031"/>
        </pc:sldMkLst>
      </pc:sldChg>
      <pc:sldChg chg="del">
        <pc:chgData name="Aurelien Domont" userId="6da7715ce44349b3" providerId="LiveId" clId="{C523CB9D-DE17-4F66-BAA5-E2467A3E4858}" dt="2021-05-03T08:02:20.197" v="0" actId="47"/>
        <pc:sldMkLst>
          <pc:docMk/>
          <pc:sldMk cId="2964978532" sldId="2032"/>
        </pc:sldMkLst>
      </pc:sldChg>
      <pc:sldChg chg="del">
        <pc:chgData name="Aurelien Domont" userId="6da7715ce44349b3" providerId="LiveId" clId="{C523CB9D-DE17-4F66-BAA5-E2467A3E4858}" dt="2021-05-03T08:02:45.439" v="1" actId="47"/>
        <pc:sldMkLst>
          <pc:docMk/>
          <pc:sldMk cId="1692242364" sldId="2033"/>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9DB28F03-1A25-4A4E-9946-97135BA1FDC9}"/>
    <pc:docChg chg="undo custSel addSld delSld modSld">
      <pc:chgData name="Aurelien Domont" userId="6da7715ce44349b3" providerId="LiveId" clId="{9DB28F03-1A25-4A4E-9946-97135BA1FDC9}" dt="2021-05-12T07:03:12.756" v="23" actId="20577"/>
      <pc:docMkLst>
        <pc:docMk/>
      </pc:docMkLst>
      <pc:sldChg chg="addSp delSp modSp add del mod">
        <pc:chgData name="Aurelien Domont" userId="6da7715ce44349b3" providerId="LiveId" clId="{9DB28F03-1A25-4A4E-9946-97135BA1FDC9}" dt="2021-05-12T07:03:12.756" v="23" actId="20577"/>
        <pc:sldMkLst>
          <pc:docMk/>
          <pc:sldMk cId="1659127470" sldId="1924"/>
        </pc:sldMkLst>
        <pc:spChg chg="del">
          <ac:chgData name="Aurelien Domont" userId="6da7715ce44349b3" providerId="LiveId" clId="{9DB28F03-1A25-4A4E-9946-97135BA1FDC9}" dt="2021-05-12T07:02:36.244" v="14" actId="478"/>
          <ac:spMkLst>
            <pc:docMk/>
            <pc:sldMk cId="1659127470" sldId="1924"/>
            <ac:spMk id="14" creationId="{493F826D-CCF6-440C-BFA4-C3799A3ED755}"/>
          </ac:spMkLst>
        </pc:spChg>
        <pc:spChg chg="add del mod">
          <ac:chgData name="Aurelien Domont" userId="6da7715ce44349b3" providerId="LiveId" clId="{9DB28F03-1A25-4A4E-9946-97135BA1FDC9}" dt="2021-05-12T07:02:43.931" v="16" actId="478"/>
          <ac:spMkLst>
            <pc:docMk/>
            <pc:sldMk cId="1659127470" sldId="1924"/>
            <ac:spMk id="15" creationId="{8492F43E-A244-4187-9CD1-2A383862A364}"/>
          </ac:spMkLst>
        </pc:spChg>
        <pc:spChg chg="add mod">
          <ac:chgData name="Aurelien Domont" userId="6da7715ce44349b3" providerId="LiveId" clId="{9DB28F03-1A25-4A4E-9946-97135BA1FDC9}" dt="2021-05-12T07:02:40.961" v="15"/>
          <ac:spMkLst>
            <pc:docMk/>
            <pc:sldMk cId="1659127470" sldId="1924"/>
            <ac:spMk id="17" creationId="{469F466A-B940-41E3-B12F-110D72502BCE}"/>
          </ac:spMkLst>
        </pc:spChg>
        <pc:spChg chg="del">
          <ac:chgData name="Aurelien Domont" userId="6da7715ce44349b3" providerId="LiveId" clId="{9DB28F03-1A25-4A4E-9946-97135BA1FDC9}" dt="2021-05-12T07:02:36.244" v="14" actId="478"/>
          <ac:spMkLst>
            <pc:docMk/>
            <pc:sldMk cId="1659127470" sldId="1924"/>
            <ac:spMk id="18" creationId="{0BCD4164-FFCE-447D-8269-E5891A7FEF0D}"/>
          </ac:spMkLst>
        </pc:spChg>
        <pc:spChg chg="del">
          <ac:chgData name="Aurelien Domont" userId="6da7715ce44349b3" providerId="LiveId" clId="{9DB28F03-1A25-4A4E-9946-97135BA1FDC9}" dt="2021-05-12T07:02:36.244" v="14" actId="478"/>
          <ac:spMkLst>
            <pc:docMk/>
            <pc:sldMk cId="1659127470" sldId="1924"/>
            <ac:spMk id="19" creationId="{554EE1B4-E11D-4B37-9F78-B5B5FA8738AA}"/>
          </ac:spMkLst>
        </pc:spChg>
        <pc:spChg chg="add mod">
          <ac:chgData name="Aurelien Domont" userId="6da7715ce44349b3" providerId="LiveId" clId="{9DB28F03-1A25-4A4E-9946-97135BA1FDC9}" dt="2021-05-12T07:02:40.961" v="15"/>
          <ac:spMkLst>
            <pc:docMk/>
            <pc:sldMk cId="1659127470" sldId="1924"/>
            <ac:spMk id="20" creationId="{3A4E6A8C-908C-49FF-9BF8-90A9FC12224D}"/>
          </ac:spMkLst>
        </pc:spChg>
        <pc:spChg chg="add mod">
          <ac:chgData name="Aurelien Domont" userId="6da7715ce44349b3" providerId="LiveId" clId="{9DB28F03-1A25-4A4E-9946-97135BA1FDC9}" dt="2021-05-12T07:02:40.961" v="15"/>
          <ac:spMkLst>
            <pc:docMk/>
            <pc:sldMk cId="1659127470" sldId="1924"/>
            <ac:spMk id="21" creationId="{16FAC062-BB56-4A49-9044-4444E78429DF}"/>
          </ac:spMkLst>
        </pc:spChg>
        <pc:spChg chg="add mod">
          <ac:chgData name="Aurelien Domont" userId="6da7715ce44349b3" providerId="LiveId" clId="{9DB28F03-1A25-4A4E-9946-97135BA1FDC9}" dt="2021-05-12T07:02:40.961" v="15"/>
          <ac:spMkLst>
            <pc:docMk/>
            <pc:sldMk cId="1659127470" sldId="1924"/>
            <ac:spMk id="24" creationId="{95714746-22CF-48C5-AD51-9D9AE6E5F2C8}"/>
          </ac:spMkLst>
        </pc:spChg>
        <pc:spChg chg="add mod">
          <ac:chgData name="Aurelien Domont" userId="6da7715ce44349b3" providerId="LiveId" clId="{9DB28F03-1A25-4A4E-9946-97135BA1FDC9}" dt="2021-05-12T07:03:12.756" v="23" actId="20577"/>
          <ac:spMkLst>
            <pc:docMk/>
            <pc:sldMk cId="1659127470" sldId="1924"/>
            <ac:spMk id="25" creationId="{0B462317-12E0-4745-AFEC-1DF156C5EB17}"/>
          </ac:spMkLst>
        </pc:spChg>
        <pc:spChg chg="add del mod">
          <ac:chgData name="Aurelien Domont" userId="6da7715ce44349b3" providerId="LiveId" clId="{9DB28F03-1A25-4A4E-9946-97135BA1FDC9}" dt="2021-05-12T07:02:51.744" v="19" actId="478"/>
          <ac:spMkLst>
            <pc:docMk/>
            <pc:sldMk cId="1659127470" sldId="1924"/>
            <ac:spMk id="26" creationId="{8207AE42-440E-461F-9002-F8171C2B0FB7}"/>
          </ac:spMkLst>
        </pc:spChg>
        <pc:spChg chg="add del mod">
          <ac:chgData name="Aurelien Domont" userId="6da7715ce44349b3" providerId="LiveId" clId="{9DB28F03-1A25-4A4E-9946-97135BA1FDC9}" dt="2021-05-12T07:02:52.643" v="20" actId="478"/>
          <ac:spMkLst>
            <pc:docMk/>
            <pc:sldMk cId="1659127470" sldId="1924"/>
            <ac:spMk id="27" creationId="{7874958D-3681-4FEB-AF57-767FF2BE43F8}"/>
          </ac:spMkLst>
        </pc:spChg>
        <pc:spChg chg="add del mod">
          <ac:chgData name="Aurelien Domont" userId="6da7715ce44349b3" providerId="LiveId" clId="{9DB28F03-1A25-4A4E-9946-97135BA1FDC9}" dt="2021-05-12T07:02:46.824" v="18" actId="478"/>
          <ac:spMkLst>
            <pc:docMk/>
            <pc:sldMk cId="1659127470" sldId="1924"/>
            <ac:spMk id="28" creationId="{46F541B2-19A4-48FE-BC36-F95AB3359448}"/>
          </ac:spMkLst>
        </pc:spChg>
        <pc:spChg chg="del">
          <ac:chgData name="Aurelien Domont" userId="6da7715ce44349b3" providerId="LiveId" clId="{9DB28F03-1A25-4A4E-9946-97135BA1FDC9}" dt="2021-05-12T07:02:36.244" v="14" actId="478"/>
          <ac:spMkLst>
            <pc:docMk/>
            <pc:sldMk cId="1659127470" sldId="1924"/>
            <ac:spMk id="34" creationId="{E2BDE0B8-90AF-4DE7-A71B-FE78ADE30B55}"/>
          </ac:spMkLst>
        </pc:spChg>
        <pc:spChg chg="del">
          <ac:chgData name="Aurelien Domont" userId="6da7715ce44349b3" providerId="LiveId" clId="{9DB28F03-1A25-4A4E-9946-97135BA1FDC9}" dt="2021-05-12T07:02:36.244" v="14" actId="478"/>
          <ac:spMkLst>
            <pc:docMk/>
            <pc:sldMk cId="1659127470" sldId="1924"/>
            <ac:spMk id="35" creationId="{1BC3B263-81C3-42AD-96C7-45AB7FFD0557}"/>
          </ac:spMkLst>
        </pc:spChg>
        <pc:spChg chg="del">
          <ac:chgData name="Aurelien Domont" userId="6da7715ce44349b3" providerId="LiveId" clId="{9DB28F03-1A25-4A4E-9946-97135BA1FDC9}" dt="2021-05-12T07:02:36.244" v="14" actId="478"/>
          <ac:spMkLst>
            <pc:docMk/>
            <pc:sldMk cId="1659127470" sldId="1924"/>
            <ac:spMk id="36" creationId="{DEACEA99-9E9A-408A-9277-86EFC1C60A69}"/>
          </ac:spMkLst>
        </pc:spChg>
        <pc:cxnChg chg="del">
          <ac:chgData name="Aurelien Domont" userId="6da7715ce44349b3" providerId="LiveId" clId="{9DB28F03-1A25-4A4E-9946-97135BA1FDC9}" dt="2021-05-12T07:02:36.244" v="14" actId="478"/>
          <ac:cxnSpMkLst>
            <pc:docMk/>
            <pc:sldMk cId="1659127470" sldId="1924"/>
            <ac:cxnSpMk id="6" creationId="{91E4FFAB-FF4F-40BB-B034-751A14BFD071}"/>
          </ac:cxnSpMkLst>
        </pc:cxnChg>
        <pc:cxnChg chg="add mod">
          <ac:chgData name="Aurelien Domont" userId="6da7715ce44349b3" providerId="LiveId" clId="{9DB28F03-1A25-4A4E-9946-97135BA1FDC9}" dt="2021-05-12T07:02:40.961" v="15"/>
          <ac:cxnSpMkLst>
            <pc:docMk/>
            <pc:sldMk cId="1659127470" sldId="1924"/>
            <ac:cxnSpMk id="22" creationId="{8F214CF9-01D2-40DC-9D6F-DAC675E238D0}"/>
          </ac:cxnSpMkLst>
        </pc:cxnChg>
        <pc:cxnChg chg="add mod">
          <ac:chgData name="Aurelien Domont" userId="6da7715ce44349b3" providerId="LiveId" clId="{9DB28F03-1A25-4A4E-9946-97135BA1FDC9}" dt="2021-05-12T07:02:40.961" v="15"/>
          <ac:cxnSpMkLst>
            <pc:docMk/>
            <pc:sldMk cId="1659127470" sldId="1924"/>
            <ac:cxnSpMk id="23" creationId="{919B0EFB-7619-4E1E-BC50-B4C9AA07AF7A}"/>
          </ac:cxnSpMkLst>
        </pc:cxnChg>
        <pc:cxnChg chg="del">
          <ac:chgData name="Aurelien Domont" userId="6da7715ce44349b3" providerId="LiveId" clId="{9DB28F03-1A25-4A4E-9946-97135BA1FDC9}" dt="2021-05-12T07:02:36.244" v="14" actId="478"/>
          <ac:cxnSpMkLst>
            <pc:docMk/>
            <pc:sldMk cId="1659127470" sldId="1924"/>
            <ac:cxnSpMk id="33" creationId="{3B31C624-A379-4A7C-8695-3B2B901C5E36}"/>
          </ac:cxnSpMkLst>
        </pc:cxnChg>
      </pc:sldChg>
      <pc:sldChg chg="addSp delSp modSp add del mod">
        <pc:chgData name="Aurelien Domont" userId="6da7715ce44349b3" providerId="LiveId" clId="{9DB28F03-1A25-4A4E-9946-97135BA1FDC9}" dt="2021-05-12T07:02:31.884" v="13"/>
        <pc:sldMkLst>
          <pc:docMk/>
          <pc:sldMk cId="2780470134" sldId="2169"/>
        </pc:sldMkLst>
        <pc:spChg chg="add del">
          <ac:chgData name="Aurelien Domont" userId="6da7715ce44349b3" providerId="LiveId" clId="{9DB28F03-1A25-4A4E-9946-97135BA1FDC9}" dt="2021-05-12T07:02:27.560" v="11" actId="478"/>
          <ac:spMkLst>
            <pc:docMk/>
            <pc:sldMk cId="2780470134" sldId="2169"/>
            <ac:spMk id="4" creationId="{D1930ED8-C851-405B-901E-2CC967E63EEB}"/>
          </ac:spMkLst>
        </pc:spChg>
        <pc:spChg chg="add del">
          <ac:chgData name="Aurelien Domont" userId="6da7715ce44349b3" providerId="LiveId" clId="{9DB28F03-1A25-4A4E-9946-97135BA1FDC9}" dt="2021-05-12T07:02:27.560" v="11" actId="478"/>
          <ac:spMkLst>
            <pc:docMk/>
            <pc:sldMk cId="2780470134" sldId="2169"/>
            <ac:spMk id="15" creationId="{A49EC62A-DF00-4CF2-94E8-C5D0BE35FC0B}"/>
          </ac:spMkLst>
        </pc:spChg>
        <pc:spChg chg="add del mod">
          <ac:chgData name="Aurelien Domont" userId="6da7715ce44349b3" providerId="LiveId" clId="{9DB28F03-1A25-4A4E-9946-97135BA1FDC9}" dt="2021-05-12T07:02:27.277" v="10" actId="1076"/>
          <ac:spMkLst>
            <pc:docMk/>
            <pc:sldMk cId="2780470134" sldId="2169"/>
            <ac:spMk id="17" creationId="{3B83C0B2-844F-4168-BE85-BA50DF2BED24}"/>
          </ac:spMkLst>
        </pc:spChg>
        <pc:spChg chg="add del">
          <ac:chgData name="Aurelien Domont" userId="6da7715ce44349b3" providerId="LiveId" clId="{9DB28F03-1A25-4A4E-9946-97135BA1FDC9}" dt="2021-05-12T07:02:15.133" v="6" actId="478"/>
          <ac:spMkLst>
            <pc:docMk/>
            <pc:sldMk cId="2780470134" sldId="2169"/>
            <ac:spMk id="35" creationId="{1BC3B263-81C3-42AD-96C7-45AB7FFD0557}"/>
          </ac:spMkLst>
        </pc:spChg>
      </pc:sldChg>
    </pc:docChg>
  </pc:docChgLst>
  <pc:docChgLst>
    <pc:chgData name="Aurelien Domont" userId="6da7715ce44349b3" providerId="LiveId" clId="{35DF0162-B88A-450C-82FA-86038E3AF923}"/>
    <pc:docChg chg="custSel addSld delSld modSld">
      <pc:chgData name="Aurelien Domont" userId="6da7715ce44349b3" providerId="LiveId" clId="{35DF0162-B88A-450C-82FA-86038E3AF923}" dt="2023-02-02T02:10:01.723" v="3" actId="47"/>
      <pc:docMkLst>
        <pc:docMk/>
      </pc:docMkLst>
      <pc:sldChg chg="addSp delSp modSp mod">
        <pc:chgData name="Aurelien Domont" userId="6da7715ce44349b3" providerId="LiveId" clId="{35DF0162-B88A-450C-82FA-86038E3AF923}" dt="2023-02-02T01:50:25.556" v="1"/>
        <pc:sldMkLst>
          <pc:docMk/>
          <pc:sldMk cId="3131901387" sldId="256"/>
        </pc:sldMkLst>
        <pc:picChg chg="add mod">
          <ac:chgData name="Aurelien Domont" userId="6da7715ce44349b3" providerId="LiveId" clId="{35DF0162-B88A-450C-82FA-86038E3AF923}" dt="2023-02-02T01:50:25.556" v="1"/>
          <ac:picMkLst>
            <pc:docMk/>
            <pc:sldMk cId="3131901387" sldId="256"/>
            <ac:picMk id="5" creationId="{E05EAECA-AB52-92C9-E5B3-B5EE09630326}"/>
          </ac:picMkLst>
        </pc:picChg>
        <pc:picChg chg="del">
          <ac:chgData name="Aurelien Domont" userId="6da7715ce44349b3" providerId="LiveId" clId="{35DF0162-B88A-450C-82FA-86038E3AF923}" dt="2023-02-02T01:50:25.304" v="0" actId="478"/>
          <ac:picMkLst>
            <pc:docMk/>
            <pc:sldMk cId="3131901387" sldId="256"/>
            <ac:picMk id="7" creationId="{56F6D9FE-2BD8-43FA-8517-544E7B92AA1A}"/>
          </ac:picMkLst>
        </pc:picChg>
      </pc:sldChg>
      <pc:sldChg chg="add">
        <pc:chgData name="Aurelien Domont" userId="6da7715ce44349b3" providerId="LiveId" clId="{35DF0162-B88A-450C-82FA-86038E3AF923}" dt="2023-02-02T02:10:00.385" v="2"/>
        <pc:sldMkLst>
          <pc:docMk/>
          <pc:sldMk cId="1754585881" sldId="1598"/>
        </pc:sldMkLst>
      </pc:sldChg>
      <pc:sldChg chg="del">
        <pc:chgData name="Aurelien Domont" userId="6da7715ce44349b3" providerId="LiveId" clId="{35DF0162-B88A-450C-82FA-86038E3AF923}" dt="2023-02-02T02:10:01.723" v="3" actId="47"/>
        <pc:sldMkLst>
          <pc:docMk/>
          <pc:sldMk cId="1289725493" sldId="2149"/>
        </pc:sldMkLst>
      </pc:sldChg>
      <pc:sldChg chg="add">
        <pc:chgData name="Aurelien Domont" userId="6da7715ce44349b3" providerId="LiveId" clId="{35DF0162-B88A-450C-82FA-86038E3AF923}" dt="2023-02-02T02:10:00.385" v="2"/>
        <pc:sldMkLst>
          <pc:docMk/>
          <pc:sldMk cId="1787253263" sldId="2213"/>
        </pc:sldMkLst>
      </pc:sldChg>
    </pc:docChg>
  </pc:docChgLst>
  <pc:docChgLst>
    <pc:chgData name="Aurelien Domont" userId="6da7715ce44349b3" providerId="LiveId" clId="{DD7A0E01-749D-45C4-96FC-6F83907F0FD2}"/>
    <pc:docChg chg="addSld delSld modSld">
      <pc:chgData name="Aurelien Domont" userId="6da7715ce44349b3" providerId="LiveId" clId="{DD7A0E01-749D-45C4-96FC-6F83907F0FD2}" dt="2022-11-11T05:20:41.858" v="162" actId="1036"/>
      <pc:docMkLst>
        <pc:docMk/>
      </pc:docMkLst>
      <pc:sldChg chg="modSp mod">
        <pc:chgData name="Aurelien Domont" userId="6da7715ce44349b3" providerId="LiveId" clId="{DD7A0E01-749D-45C4-96FC-6F83907F0FD2}" dt="2022-11-11T04:55:29.646" v="0"/>
        <pc:sldMkLst>
          <pc:docMk/>
          <pc:sldMk cId="3131901387" sldId="256"/>
        </pc:sldMkLst>
        <pc:spChg chg="mod">
          <ac:chgData name="Aurelien Domont" userId="6da7715ce44349b3" providerId="LiveId" clId="{DD7A0E01-749D-45C4-96FC-6F83907F0FD2}" dt="2022-11-11T04:55:29.646" v="0"/>
          <ac:spMkLst>
            <pc:docMk/>
            <pc:sldMk cId="3131901387" sldId="256"/>
            <ac:spMk id="2" creationId="{5261080C-C60C-4746-B6B1-A9A4FFA86785}"/>
          </ac:spMkLst>
        </pc:spChg>
      </pc:sldChg>
      <pc:sldChg chg="del">
        <pc:chgData name="Aurelien Domont" userId="6da7715ce44349b3" providerId="LiveId" clId="{DD7A0E01-749D-45C4-96FC-6F83907F0FD2}" dt="2022-11-11T05:14:59.317" v="3" actId="47"/>
        <pc:sldMkLst>
          <pc:docMk/>
          <pc:sldMk cId="622165058" sldId="1482"/>
        </pc:sldMkLst>
      </pc:sldChg>
      <pc:sldChg chg="del">
        <pc:chgData name="Aurelien Domont" userId="6da7715ce44349b3" providerId="LiveId" clId="{DD7A0E01-749D-45C4-96FC-6F83907F0FD2}" dt="2022-11-11T05:14:59.317" v="3" actId="47"/>
        <pc:sldMkLst>
          <pc:docMk/>
          <pc:sldMk cId="3645339576" sldId="1483"/>
        </pc:sldMkLst>
      </pc:sldChg>
      <pc:sldChg chg="del">
        <pc:chgData name="Aurelien Domont" userId="6da7715ce44349b3" providerId="LiveId" clId="{DD7A0E01-749D-45C4-96FC-6F83907F0FD2}" dt="2022-11-11T05:14:59.317" v="3" actId="47"/>
        <pc:sldMkLst>
          <pc:docMk/>
          <pc:sldMk cId="3072119178" sldId="1488"/>
        </pc:sldMkLst>
      </pc:sldChg>
      <pc:sldChg chg="del">
        <pc:chgData name="Aurelien Domont" userId="6da7715ce44349b3" providerId="LiveId" clId="{DD7A0E01-749D-45C4-96FC-6F83907F0FD2}" dt="2022-11-11T05:14:59.317" v="3" actId="47"/>
        <pc:sldMkLst>
          <pc:docMk/>
          <pc:sldMk cId="926313830" sldId="1489"/>
        </pc:sldMkLst>
      </pc:sldChg>
      <pc:sldChg chg="del">
        <pc:chgData name="Aurelien Domont" userId="6da7715ce44349b3" providerId="LiveId" clId="{DD7A0E01-749D-45C4-96FC-6F83907F0FD2}" dt="2022-11-11T05:14:59.317" v="3" actId="47"/>
        <pc:sldMkLst>
          <pc:docMk/>
          <pc:sldMk cId="3370215172" sldId="1490"/>
        </pc:sldMkLst>
      </pc:sldChg>
      <pc:sldChg chg="del">
        <pc:chgData name="Aurelien Domont" userId="6da7715ce44349b3" providerId="LiveId" clId="{DD7A0E01-749D-45C4-96FC-6F83907F0FD2}" dt="2022-11-11T05:14:59.317" v="3" actId="47"/>
        <pc:sldMkLst>
          <pc:docMk/>
          <pc:sldMk cId="359603823" sldId="1539"/>
        </pc:sldMkLst>
      </pc:sldChg>
      <pc:sldChg chg="del">
        <pc:chgData name="Aurelien Domont" userId="6da7715ce44349b3" providerId="LiveId" clId="{DD7A0E01-749D-45C4-96FC-6F83907F0FD2}" dt="2022-11-11T05:14:59.317" v="3" actId="47"/>
        <pc:sldMkLst>
          <pc:docMk/>
          <pc:sldMk cId="396583763" sldId="1541"/>
        </pc:sldMkLst>
      </pc:sldChg>
      <pc:sldChg chg="del">
        <pc:chgData name="Aurelien Domont" userId="6da7715ce44349b3" providerId="LiveId" clId="{DD7A0E01-749D-45C4-96FC-6F83907F0FD2}" dt="2022-11-11T05:14:59.317" v="3" actId="47"/>
        <pc:sldMkLst>
          <pc:docMk/>
          <pc:sldMk cId="248084048" sldId="1542"/>
        </pc:sldMkLst>
      </pc:sldChg>
      <pc:sldChg chg="del">
        <pc:chgData name="Aurelien Domont" userId="6da7715ce44349b3" providerId="LiveId" clId="{DD7A0E01-749D-45C4-96FC-6F83907F0FD2}" dt="2022-11-11T05:14:59.317" v="3" actId="47"/>
        <pc:sldMkLst>
          <pc:docMk/>
          <pc:sldMk cId="1881042919" sldId="1543"/>
        </pc:sldMkLst>
      </pc:sldChg>
      <pc:sldChg chg="del">
        <pc:chgData name="Aurelien Domont" userId="6da7715ce44349b3" providerId="LiveId" clId="{DD7A0E01-749D-45C4-96FC-6F83907F0FD2}" dt="2022-11-11T05:14:59.317" v="3" actId="47"/>
        <pc:sldMkLst>
          <pc:docMk/>
          <pc:sldMk cId="481203502" sldId="1544"/>
        </pc:sldMkLst>
      </pc:sldChg>
      <pc:sldChg chg="del">
        <pc:chgData name="Aurelien Domont" userId="6da7715ce44349b3" providerId="LiveId" clId="{DD7A0E01-749D-45C4-96FC-6F83907F0FD2}" dt="2022-11-11T05:14:59.317" v="3" actId="47"/>
        <pc:sldMkLst>
          <pc:docMk/>
          <pc:sldMk cId="3474761269" sldId="1546"/>
        </pc:sldMkLst>
      </pc:sldChg>
      <pc:sldChg chg="del">
        <pc:chgData name="Aurelien Domont" userId="6da7715ce44349b3" providerId="LiveId" clId="{DD7A0E01-749D-45C4-96FC-6F83907F0FD2}" dt="2022-11-11T05:14:59.317" v="3" actId="47"/>
        <pc:sldMkLst>
          <pc:docMk/>
          <pc:sldMk cId="3289359821" sldId="1549"/>
        </pc:sldMkLst>
      </pc:sldChg>
      <pc:sldChg chg="del">
        <pc:chgData name="Aurelien Domont" userId="6da7715ce44349b3" providerId="LiveId" clId="{DD7A0E01-749D-45C4-96FC-6F83907F0FD2}" dt="2022-11-11T05:01:38.793" v="1" actId="47"/>
        <pc:sldMkLst>
          <pc:docMk/>
          <pc:sldMk cId="495896922" sldId="1566"/>
        </pc:sldMkLst>
      </pc:sldChg>
      <pc:sldChg chg="del">
        <pc:chgData name="Aurelien Domont" userId="6da7715ce44349b3" providerId="LiveId" clId="{DD7A0E01-749D-45C4-96FC-6F83907F0FD2}" dt="2022-11-11T05:14:59.317" v="3" actId="47"/>
        <pc:sldMkLst>
          <pc:docMk/>
          <pc:sldMk cId="3604617461" sldId="1591"/>
        </pc:sldMkLst>
      </pc:sldChg>
      <pc:sldChg chg="del">
        <pc:chgData name="Aurelien Domont" userId="6da7715ce44349b3" providerId="LiveId" clId="{DD7A0E01-749D-45C4-96FC-6F83907F0FD2}" dt="2022-11-11T05:14:59.317" v="3" actId="47"/>
        <pc:sldMkLst>
          <pc:docMk/>
          <pc:sldMk cId="708629439" sldId="1646"/>
        </pc:sldMkLst>
      </pc:sldChg>
      <pc:sldChg chg="del">
        <pc:chgData name="Aurelien Domont" userId="6da7715ce44349b3" providerId="LiveId" clId="{DD7A0E01-749D-45C4-96FC-6F83907F0FD2}" dt="2022-11-11T05:14:59.317" v="3" actId="47"/>
        <pc:sldMkLst>
          <pc:docMk/>
          <pc:sldMk cId="4128626396" sldId="1647"/>
        </pc:sldMkLst>
      </pc:sldChg>
      <pc:sldChg chg="del">
        <pc:chgData name="Aurelien Domont" userId="6da7715ce44349b3" providerId="LiveId" clId="{DD7A0E01-749D-45C4-96FC-6F83907F0FD2}" dt="2022-11-11T05:01:38.793" v="1" actId="47"/>
        <pc:sldMkLst>
          <pc:docMk/>
          <pc:sldMk cId="2841565455" sldId="1741"/>
        </pc:sldMkLst>
      </pc:sldChg>
      <pc:sldChg chg="del">
        <pc:chgData name="Aurelien Domont" userId="6da7715ce44349b3" providerId="LiveId" clId="{DD7A0E01-749D-45C4-96FC-6F83907F0FD2}" dt="2022-11-11T05:01:38.793" v="1" actId="47"/>
        <pc:sldMkLst>
          <pc:docMk/>
          <pc:sldMk cId="266061181" sldId="1742"/>
        </pc:sldMkLst>
      </pc:sldChg>
      <pc:sldChg chg="del">
        <pc:chgData name="Aurelien Domont" userId="6da7715ce44349b3" providerId="LiveId" clId="{DD7A0E01-749D-45C4-96FC-6F83907F0FD2}" dt="2022-11-11T05:01:38.793" v="1" actId="47"/>
        <pc:sldMkLst>
          <pc:docMk/>
          <pc:sldMk cId="3735249455" sldId="1744"/>
        </pc:sldMkLst>
      </pc:sldChg>
      <pc:sldChg chg="del">
        <pc:chgData name="Aurelien Domont" userId="6da7715ce44349b3" providerId="LiveId" clId="{DD7A0E01-749D-45C4-96FC-6F83907F0FD2}" dt="2022-11-11T05:01:38.793" v="1" actId="47"/>
        <pc:sldMkLst>
          <pc:docMk/>
          <pc:sldMk cId="3455830382" sldId="1745"/>
        </pc:sldMkLst>
      </pc:sldChg>
      <pc:sldChg chg="del">
        <pc:chgData name="Aurelien Domont" userId="6da7715ce44349b3" providerId="LiveId" clId="{DD7A0E01-749D-45C4-96FC-6F83907F0FD2}" dt="2022-11-11T05:01:38.793" v="1" actId="47"/>
        <pc:sldMkLst>
          <pc:docMk/>
          <pc:sldMk cId="1253290912" sldId="1747"/>
        </pc:sldMkLst>
      </pc:sldChg>
      <pc:sldChg chg="del">
        <pc:chgData name="Aurelien Domont" userId="6da7715ce44349b3" providerId="LiveId" clId="{DD7A0E01-749D-45C4-96FC-6F83907F0FD2}" dt="2022-11-11T05:01:38.793" v="1" actId="47"/>
        <pc:sldMkLst>
          <pc:docMk/>
          <pc:sldMk cId="95140043" sldId="1748"/>
        </pc:sldMkLst>
      </pc:sldChg>
      <pc:sldChg chg="del">
        <pc:chgData name="Aurelien Domont" userId="6da7715ce44349b3" providerId="LiveId" clId="{DD7A0E01-749D-45C4-96FC-6F83907F0FD2}" dt="2022-11-11T05:01:38.793" v="1" actId="47"/>
        <pc:sldMkLst>
          <pc:docMk/>
          <pc:sldMk cId="317099162" sldId="1749"/>
        </pc:sldMkLst>
      </pc:sldChg>
      <pc:sldChg chg="del">
        <pc:chgData name="Aurelien Domont" userId="6da7715ce44349b3" providerId="LiveId" clId="{DD7A0E01-749D-45C4-96FC-6F83907F0FD2}" dt="2022-11-11T05:14:59.317" v="3" actId="47"/>
        <pc:sldMkLst>
          <pc:docMk/>
          <pc:sldMk cId="3677483741" sldId="1783"/>
        </pc:sldMkLst>
      </pc:sldChg>
      <pc:sldChg chg="del">
        <pc:chgData name="Aurelien Domont" userId="6da7715ce44349b3" providerId="LiveId" clId="{DD7A0E01-749D-45C4-96FC-6F83907F0FD2}" dt="2022-11-11T05:14:59.317" v="3" actId="47"/>
        <pc:sldMkLst>
          <pc:docMk/>
          <pc:sldMk cId="4287359207" sldId="1784"/>
        </pc:sldMkLst>
      </pc:sldChg>
      <pc:sldChg chg="del">
        <pc:chgData name="Aurelien Domont" userId="6da7715ce44349b3" providerId="LiveId" clId="{DD7A0E01-749D-45C4-96FC-6F83907F0FD2}" dt="2022-11-11T05:14:59.317" v="3" actId="47"/>
        <pc:sldMkLst>
          <pc:docMk/>
          <pc:sldMk cId="2877494023" sldId="1785"/>
        </pc:sldMkLst>
      </pc:sldChg>
      <pc:sldChg chg="del">
        <pc:chgData name="Aurelien Domont" userId="6da7715ce44349b3" providerId="LiveId" clId="{DD7A0E01-749D-45C4-96FC-6F83907F0FD2}" dt="2022-11-11T05:14:59.317" v="3" actId="47"/>
        <pc:sldMkLst>
          <pc:docMk/>
          <pc:sldMk cId="3855801452" sldId="1787"/>
        </pc:sldMkLst>
      </pc:sldChg>
      <pc:sldChg chg="del">
        <pc:chgData name="Aurelien Domont" userId="6da7715ce44349b3" providerId="LiveId" clId="{DD7A0E01-749D-45C4-96FC-6F83907F0FD2}" dt="2022-11-11T05:14:59.317" v="3" actId="47"/>
        <pc:sldMkLst>
          <pc:docMk/>
          <pc:sldMk cId="4009885783" sldId="1788"/>
        </pc:sldMkLst>
      </pc:sldChg>
      <pc:sldChg chg="del">
        <pc:chgData name="Aurelien Domont" userId="6da7715ce44349b3" providerId="LiveId" clId="{DD7A0E01-749D-45C4-96FC-6F83907F0FD2}" dt="2022-11-11T05:14:59.317" v="3" actId="47"/>
        <pc:sldMkLst>
          <pc:docMk/>
          <pc:sldMk cId="1714268045" sldId="1789"/>
        </pc:sldMkLst>
      </pc:sldChg>
      <pc:sldChg chg="del">
        <pc:chgData name="Aurelien Domont" userId="6da7715ce44349b3" providerId="LiveId" clId="{DD7A0E01-749D-45C4-96FC-6F83907F0FD2}" dt="2022-11-11T05:14:59.317" v="3" actId="47"/>
        <pc:sldMkLst>
          <pc:docMk/>
          <pc:sldMk cId="1134423678" sldId="1799"/>
        </pc:sldMkLst>
      </pc:sldChg>
      <pc:sldChg chg="del">
        <pc:chgData name="Aurelien Domont" userId="6da7715ce44349b3" providerId="LiveId" clId="{DD7A0E01-749D-45C4-96FC-6F83907F0FD2}" dt="2022-11-11T05:14:59.317" v="3" actId="47"/>
        <pc:sldMkLst>
          <pc:docMk/>
          <pc:sldMk cId="1657545652" sldId="1800"/>
        </pc:sldMkLst>
      </pc:sldChg>
      <pc:sldChg chg="del">
        <pc:chgData name="Aurelien Domont" userId="6da7715ce44349b3" providerId="LiveId" clId="{DD7A0E01-749D-45C4-96FC-6F83907F0FD2}" dt="2022-11-11T05:14:59.317" v="3" actId="47"/>
        <pc:sldMkLst>
          <pc:docMk/>
          <pc:sldMk cId="553578808" sldId="1801"/>
        </pc:sldMkLst>
      </pc:sldChg>
      <pc:sldChg chg="del">
        <pc:chgData name="Aurelien Domont" userId="6da7715ce44349b3" providerId="LiveId" clId="{DD7A0E01-749D-45C4-96FC-6F83907F0FD2}" dt="2022-11-11T05:14:59.317" v="3" actId="47"/>
        <pc:sldMkLst>
          <pc:docMk/>
          <pc:sldMk cId="662933818" sldId="1802"/>
        </pc:sldMkLst>
      </pc:sldChg>
      <pc:sldChg chg="del">
        <pc:chgData name="Aurelien Domont" userId="6da7715ce44349b3" providerId="LiveId" clId="{DD7A0E01-749D-45C4-96FC-6F83907F0FD2}" dt="2022-11-11T05:14:59.317" v="3" actId="47"/>
        <pc:sldMkLst>
          <pc:docMk/>
          <pc:sldMk cId="2844005624" sldId="1803"/>
        </pc:sldMkLst>
      </pc:sldChg>
      <pc:sldChg chg="del">
        <pc:chgData name="Aurelien Domont" userId="6da7715ce44349b3" providerId="LiveId" clId="{DD7A0E01-749D-45C4-96FC-6F83907F0FD2}" dt="2022-11-11T05:14:59.317" v="3" actId="47"/>
        <pc:sldMkLst>
          <pc:docMk/>
          <pc:sldMk cId="2103218014" sldId="1854"/>
        </pc:sldMkLst>
      </pc:sldChg>
      <pc:sldChg chg="del">
        <pc:chgData name="Aurelien Domont" userId="6da7715ce44349b3" providerId="LiveId" clId="{DD7A0E01-749D-45C4-96FC-6F83907F0FD2}" dt="2022-11-11T05:14:59.317" v="3" actId="47"/>
        <pc:sldMkLst>
          <pc:docMk/>
          <pc:sldMk cId="825089551" sldId="1855"/>
        </pc:sldMkLst>
      </pc:sldChg>
      <pc:sldChg chg="del">
        <pc:chgData name="Aurelien Domont" userId="6da7715ce44349b3" providerId="LiveId" clId="{DD7A0E01-749D-45C4-96FC-6F83907F0FD2}" dt="2022-11-11T05:14:59.317" v="3" actId="47"/>
        <pc:sldMkLst>
          <pc:docMk/>
          <pc:sldMk cId="4201580979" sldId="1856"/>
        </pc:sldMkLst>
      </pc:sldChg>
      <pc:sldChg chg="del">
        <pc:chgData name="Aurelien Domont" userId="6da7715ce44349b3" providerId="LiveId" clId="{DD7A0E01-749D-45C4-96FC-6F83907F0FD2}" dt="2022-11-11T05:14:59.317" v="3" actId="47"/>
        <pc:sldMkLst>
          <pc:docMk/>
          <pc:sldMk cId="1720389870" sldId="1857"/>
        </pc:sldMkLst>
      </pc:sldChg>
      <pc:sldChg chg="del">
        <pc:chgData name="Aurelien Domont" userId="6da7715ce44349b3" providerId="LiveId" clId="{DD7A0E01-749D-45C4-96FC-6F83907F0FD2}" dt="2022-11-11T05:01:38.793" v="1" actId="47"/>
        <pc:sldMkLst>
          <pc:docMk/>
          <pc:sldMk cId="2335345969" sldId="1871"/>
        </pc:sldMkLst>
      </pc:sldChg>
      <pc:sldChg chg="del">
        <pc:chgData name="Aurelien Domont" userId="6da7715ce44349b3" providerId="LiveId" clId="{DD7A0E01-749D-45C4-96FC-6F83907F0FD2}" dt="2022-11-11T05:01:38.793" v="1" actId="47"/>
        <pc:sldMkLst>
          <pc:docMk/>
          <pc:sldMk cId="2445131328" sldId="1872"/>
        </pc:sldMkLst>
      </pc:sldChg>
      <pc:sldChg chg="del">
        <pc:chgData name="Aurelien Domont" userId="6da7715ce44349b3" providerId="LiveId" clId="{DD7A0E01-749D-45C4-96FC-6F83907F0FD2}" dt="2022-11-11T05:01:38.793" v="1" actId="47"/>
        <pc:sldMkLst>
          <pc:docMk/>
          <pc:sldMk cId="1372783906" sldId="1873"/>
        </pc:sldMkLst>
      </pc:sldChg>
      <pc:sldChg chg="del">
        <pc:chgData name="Aurelien Domont" userId="6da7715ce44349b3" providerId="LiveId" clId="{DD7A0E01-749D-45C4-96FC-6F83907F0FD2}" dt="2022-11-11T05:01:38.793" v="1" actId="47"/>
        <pc:sldMkLst>
          <pc:docMk/>
          <pc:sldMk cId="4121493417" sldId="1874"/>
        </pc:sldMkLst>
      </pc:sldChg>
      <pc:sldChg chg="del">
        <pc:chgData name="Aurelien Domont" userId="6da7715ce44349b3" providerId="LiveId" clId="{DD7A0E01-749D-45C4-96FC-6F83907F0FD2}" dt="2022-11-11T05:01:38.793" v="1" actId="47"/>
        <pc:sldMkLst>
          <pc:docMk/>
          <pc:sldMk cId="1008653190" sldId="1875"/>
        </pc:sldMkLst>
      </pc:sldChg>
      <pc:sldChg chg="del">
        <pc:chgData name="Aurelien Domont" userId="6da7715ce44349b3" providerId="LiveId" clId="{DD7A0E01-749D-45C4-96FC-6F83907F0FD2}" dt="2022-11-11T05:01:38.793" v="1" actId="47"/>
        <pc:sldMkLst>
          <pc:docMk/>
          <pc:sldMk cId="4140850721" sldId="1876"/>
        </pc:sldMkLst>
      </pc:sldChg>
      <pc:sldChg chg="del">
        <pc:chgData name="Aurelien Domont" userId="6da7715ce44349b3" providerId="LiveId" clId="{DD7A0E01-749D-45C4-96FC-6F83907F0FD2}" dt="2022-11-11T05:14:59.317" v="3" actId="47"/>
        <pc:sldMkLst>
          <pc:docMk/>
          <pc:sldMk cId="2346025138" sldId="2155"/>
        </pc:sldMkLst>
      </pc:sldChg>
      <pc:sldChg chg="del">
        <pc:chgData name="Aurelien Domont" userId="6da7715ce44349b3" providerId="LiveId" clId="{DD7A0E01-749D-45C4-96FC-6F83907F0FD2}" dt="2022-11-11T05:14:59.317" v="3" actId="47"/>
        <pc:sldMkLst>
          <pc:docMk/>
          <pc:sldMk cId="2516775586" sldId="2210"/>
        </pc:sldMkLst>
      </pc:sldChg>
      <pc:sldChg chg="del">
        <pc:chgData name="Aurelien Domont" userId="6da7715ce44349b3" providerId="LiveId" clId="{DD7A0E01-749D-45C4-96FC-6F83907F0FD2}" dt="2022-11-11T05:14:59.317" v="3" actId="47"/>
        <pc:sldMkLst>
          <pc:docMk/>
          <pc:sldMk cId="708349765" sldId="2211"/>
        </pc:sldMkLst>
      </pc:sldChg>
      <pc:sldChg chg="addSp modSp add mod">
        <pc:chgData name="Aurelien Domont" userId="6da7715ce44349b3" providerId="LiveId" clId="{DD7A0E01-749D-45C4-96FC-6F83907F0FD2}" dt="2022-11-11T05:18:05.666" v="31" actId="14100"/>
        <pc:sldMkLst>
          <pc:docMk/>
          <pc:sldMk cId="950188108" sldId="2215"/>
        </pc:sldMkLst>
        <pc:spChg chg="add mod ord">
          <ac:chgData name="Aurelien Domont" userId="6da7715ce44349b3" providerId="LiveId" clId="{DD7A0E01-749D-45C4-96FC-6F83907F0FD2}" dt="2022-11-11T05:18:05.666" v="31" actId="14100"/>
          <ac:spMkLst>
            <pc:docMk/>
            <pc:sldMk cId="950188108" sldId="2215"/>
            <ac:spMk id="2" creationId="{AAFA054E-BCD0-FEF8-FA7E-BE8519026C16}"/>
          </ac:spMkLst>
        </pc:spChg>
        <pc:spChg chg="mod">
          <ac:chgData name="Aurelien Domont" userId="6da7715ce44349b3" providerId="LiveId" clId="{DD7A0E01-749D-45C4-96FC-6F83907F0FD2}" dt="2022-11-11T05:17:21.061" v="25" actId="20577"/>
          <ac:spMkLst>
            <pc:docMk/>
            <pc:sldMk cId="950188108" sldId="2215"/>
            <ac:spMk id="16" creationId="{6C2BB713-9637-4B9B-938F-E9768876782A}"/>
          </ac:spMkLst>
        </pc:spChg>
        <pc:spChg chg="mod">
          <ac:chgData name="Aurelien Domont" userId="6da7715ce44349b3" providerId="LiveId" clId="{DD7A0E01-749D-45C4-96FC-6F83907F0FD2}" dt="2022-11-11T05:17:36.586" v="26" actId="207"/>
          <ac:spMkLst>
            <pc:docMk/>
            <pc:sldMk cId="950188108" sldId="2215"/>
            <ac:spMk id="55" creationId="{24A4C4E5-5699-4419-ABC0-4A0F8E1CE0C6}"/>
          </ac:spMkLst>
        </pc:spChg>
      </pc:sldChg>
      <pc:sldChg chg="del">
        <pc:chgData name="Aurelien Domont" userId="6da7715ce44349b3" providerId="LiveId" clId="{DD7A0E01-749D-45C4-96FC-6F83907F0FD2}" dt="2022-11-11T05:14:59.317" v="3" actId="47"/>
        <pc:sldMkLst>
          <pc:docMk/>
          <pc:sldMk cId="4068453638" sldId="2224"/>
        </pc:sldMkLst>
      </pc:sldChg>
      <pc:sldChg chg="del">
        <pc:chgData name="Aurelien Domont" userId="6da7715ce44349b3" providerId="LiveId" clId="{DD7A0E01-749D-45C4-96FC-6F83907F0FD2}" dt="2022-11-11T05:14:59.317" v="3" actId="47"/>
        <pc:sldMkLst>
          <pc:docMk/>
          <pc:sldMk cId="3991579332" sldId="2225"/>
        </pc:sldMkLst>
      </pc:sldChg>
      <pc:sldChg chg="del">
        <pc:chgData name="Aurelien Domont" userId="6da7715ce44349b3" providerId="LiveId" clId="{DD7A0E01-749D-45C4-96FC-6F83907F0FD2}" dt="2022-11-11T05:01:38.793" v="1" actId="47"/>
        <pc:sldMkLst>
          <pc:docMk/>
          <pc:sldMk cId="2233641397" sldId="2366"/>
        </pc:sldMkLst>
      </pc:sldChg>
      <pc:sldChg chg="del">
        <pc:chgData name="Aurelien Domont" userId="6da7715ce44349b3" providerId="LiveId" clId="{DD7A0E01-749D-45C4-96FC-6F83907F0FD2}" dt="2022-11-11T05:14:59.317" v="3" actId="47"/>
        <pc:sldMkLst>
          <pc:docMk/>
          <pc:sldMk cId="1354432404" sldId="2368"/>
        </pc:sldMkLst>
      </pc:sldChg>
      <pc:sldChg chg="del">
        <pc:chgData name="Aurelien Domont" userId="6da7715ce44349b3" providerId="LiveId" clId="{DD7A0E01-749D-45C4-96FC-6F83907F0FD2}" dt="2022-11-11T05:14:59.317" v="3" actId="47"/>
        <pc:sldMkLst>
          <pc:docMk/>
          <pc:sldMk cId="1235584572" sldId="2369"/>
        </pc:sldMkLst>
      </pc:sldChg>
      <pc:sldChg chg="del">
        <pc:chgData name="Aurelien Domont" userId="6da7715ce44349b3" providerId="LiveId" clId="{DD7A0E01-749D-45C4-96FC-6F83907F0FD2}" dt="2022-11-11T05:14:59.317" v="3" actId="47"/>
        <pc:sldMkLst>
          <pc:docMk/>
          <pc:sldMk cId="3907361125" sldId="2373"/>
        </pc:sldMkLst>
      </pc:sldChg>
      <pc:sldChg chg="del">
        <pc:chgData name="Aurelien Domont" userId="6da7715ce44349b3" providerId="LiveId" clId="{DD7A0E01-749D-45C4-96FC-6F83907F0FD2}" dt="2022-11-11T05:14:59.317" v="3" actId="47"/>
        <pc:sldMkLst>
          <pc:docMk/>
          <pc:sldMk cId="2069923559" sldId="2374"/>
        </pc:sldMkLst>
      </pc:sldChg>
      <pc:sldChg chg="del">
        <pc:chgData name="Aurelien Domont" userId="6da7715ce44349b3" providerId="LiveId" clId="{DD7A0E01-749D-45C4-96FC-6F83907F0FD2}" dt="2022-11-11T05:14:59.317" v="3" actId="47"/>
        <pc:sldMkLst>
          <pc:docMk/>
          <pc:sldMk cId="1703719684" sldId="2375"/>
        </pc:sldMkLst>
      </pc:sldChg>
      <pc:sldChg chg="del">
        <pc:chgData name="Aurelien Domont" userId="6da7715ce44349b3" providerId="LiveId" clId="{DD7A0E01-749D-45C4-96FC-6F83907F0FD2}" dt="2022-11-11T05:14:59.317" v="3" actId="47"/>
        <pc:sldMkLst>
          <pc:docMk/>
          <pc:sldMk cId="3702560362" sldId="2377"/>
        </pc:sldMkLst>
      </pc:sldChg>
      <pc:sldChg chg="del">
        <pc:chgData name="Aurelien Domont" userId="6da7715ce44349b3" providerId="LiveId" clId="{DD7A0E01-749D-45C4-96FC-6F83907F0FD2}" dt="2022-11-11T05:14:59.317" v="3" actId="47"/>
        <pc:sldMkLst>
          <pc:docMk/>
          <pc:sldMk cId="1477722458" sldId="2378"/>
        </pc:sldMkLst>
      </pc:sldChg>
      <pc:sldChg chg="del">
        <pc:chgData name="Aurelien Domont" userId="6da7715ce44349b3" providerId="LiveId" clId="{DD7A0E01-749D-45C4-96FC-6F83907F0FD2}" dt="2022-11-11T05:01:38.793" v="1" actId="47"/>
        <pc:sldMkLst>
          <pc:docMk/>
          <pc:sldMk cId="113606793" sldId="2395"/>
        </pc:sldMkLst>
      </pc:sldChg>
      <pc:sldChg chg="del">
        <pc:chgData name="Aurelien Domont" userId="6da7715ce44349b3" providerId="LiveId" clId="{DD7A0E01-749D-45C4-96FC-6F83907F0FD2}" dt="2022-11-11T05:14:59.317" v="3" actId="47"/>
        <pc:sldMkLst>
          <pc:docMk/>
          <pc:sldMk cId="2837632377" sldId="2396"/>
        </pc:sldMkLst>
      </pc:sldChg>
      <pc:sldChg chg="del">
        <pc:chgData name="Aurelien Domont" userId="6da7715ce44349b3" providerId="LiveId" clId="{DD7A0E01-749D-45C4-96FC-6F83907F0FD2}" dt="2022-11-11T05:14:59.317" v="3" actId="47"/>
        <pc:sldMkLst>
          <pc:docMk/>
          <pc:sldMk cId="898007441" sldId="2397"/>
        </pc:sldMkLst>
      </pc:sldChg>
      <pc:sldChg chg="del">
        <pc:chgData name="Aurelien Domont" userId="6da7715ce44349b3" providerId="LiveId" clId="{DD7A0E01-749D-45C4-96FC-6F83907F0FD2}" dt="2022-11-11T05:14:59.317" v="3" actId="47"/>
        <pc:sldMkLst>
          <pc:docMk/>
          <pc:sldMk cId="550619796" sldId="2398"/>
        </pc:sldMkLst>
      </pc:sldChg>
      <pc:sldChg chg="del">
        <pc:chgData name="Aurelien Domont" userId="6da7715ce44349b3" providerId="LiveId" clId="{DD7A0E01-749D-45C4-96FC-6F83907F0FD2}" dt="2022-11-11T05:14:59.317" v="3" actId="47"/>
        <pc:sldMkLst>
          <pc:docMk/>
          <pc:sldMk cId="1084260670" sldId="2399"/>
        </pc:sldMkLst>
      </pc:sldChg>
      <pc:sldChg chg="del">
        <pc:chgData name="Aurelien Domont" userId="6da7715ce44349b3" providerId="LiveId" clId="{DD7A0E01-749D-45C4-96FC-6F83907F0FD2}" dt="2022-11-11T05:14:59.317" v="3" actId="47"/>
        <pc:sldMkLst>
          <pc:docMk/>
          <pc:sldMk cId="125313979" sldId="2400"/>
        </pc:sldMkLst>
      </pc:sldChg>
      <pc:sldChg chg="del">
        <pc:chgData name="Aurelien Domont" userId="6da7715ce44349b3" providerId="LiveId" clId="{DD7A0E01-749D-45C4-96FC-6F83907F0FD2}" dt="2022-11-11T05:14:59.317" v="3" actId="47"/>
        <pc:sldMkLst>
          <pc:docMk/>
          <pc:sldMk cId="2846812865" sldId="2401"/>
        </pc:sldMkLst>
      </pc:sldChg>
      <pc:sldChg chg="del">
        <pc:chgData name="Aurelien Domont" userId="6da7715ce44349b3" providerId="LiveId" clId="{DD7A0E01-749D-45C4-96FC-6F83907F0FD2}" dt="2022-11-11T05:01:42.326" v="2" actId="47"/>
        <pc:sldMkLst>
          <pc:docMk/>
          <pc:sldMk cId="629613103" sldId="2402"/>
        </pc:sldMkLst>
      </pc:sldChg>
      <pc:sldChg chg="del">
        <pc:chgData name="Aurelien Domont" userId="6da7715ce44349b3" providerId="LiveId" clId="{DD7A0E01-749D-45C4-96FC-6F83907F0FD2}" dt="2022-11-11T05:20:14.733" v="125" actId="47"/>
        <pc:sldMkLst>
          <pc:docMk/>
          <pc:sldMk cId="2780195890" sldId="2403"/>
        </pc:sldMkLst>
      </pc:sldChg>
      <pc:sldChg chg="del">
        <pc:chgData name="Aurelien Domont" userId="6da7715ce44349b3" providerId="LiveId" clId="{DD7A0E01-749D-45C4-96FC-6F83907F0FD2}" dt="2022-11-11T05:19:00.377" v="61" actId="47"/>
        <pc:sldMkLst>
          <pc:docMk/>
          <pc:sldMk cId="1733673969" sldId="2404"/>
        </pc:sldMkLst>
      </pc:sldChg>
      <pc:sldChg chg="del">
        <pc:chgData name="Aurelien Domont" userId="6da7715ce44349b3" providerId="LiveId" clId="{DD7A0E01-749D-45C4-96FC-6F83907F0FD2}" dt="2022-11-11T05:14:59.317" v="3" actId="47"/>
        <pc:sldMkLst>
          <pc:docMk/>
          <pc:sldMk cId="1755678747" sldId="2442"/>
        </pc:sldMkLst>
      </pc:sldChg>
      <pc:sldChg chg="del">
        <pc:chgData name="Aurelien Domont" userId="6da7715ce44349b3" providerId="LiveId" clId="{DD7A0E01-749D-45C4-96FC-6F83907F0FD2}" dt="2022-11-11T05:14:59.317" v="3" actId="47"/>
        <pc:sldMkLst>
          <pc:docMk/>
          <pc:sldMk cId="1154909907" sldId="2443"/>
        </pc:sldMkLst>
      </pc:sldChg>
      <pc:sldChg chg="del">
        <pc:chgData name="Aurelien Domont" userId="6da7715ce44349b3" providerId="LiveId" clId="{DD7A0E01-749D-45C4-96FC-6F83907F0FD2}" dt="2022-11-11T05:14:59.317" v="3" actId="47"/>
        <pc:sldMkLst>
          <pc:docMk/>
          <pc:sldMk cId="849356259" sldId="2444"/>
        </pc:sldMkLst>
      </pc:sldChg>
      <pc:sldChg chg="del">
        <pc:chgData name="Aurelien Domont" userId="6da7715ce44349b3" providerId="LiveId" clId="{DD7A0E01-749D-45C4-96FC-6F83907F0FD2}" dt="2022-11-11T05:14:59.317" v="3" actId="47"/>
        <pc:sldMkLst>
          <pc:docMk/>
          <pc:sldMk cId="3546606410" sldId="2445"/>
        </pc:sldMkLst>
      </pc:sldChg>
      <pc:sldChg chg="del">
        <pc:chgData name="Aurelien Domont" userId="6da7715ce44349b3" providerId="LiveId" clId="{DD7A0E01-749D-45C4-96FC-6F83907F0FD2}" dt="2022-11-11T05:14:59.317" v="3" actId="47"/>
        <pc:sldMkLst>
          <pc:docMk/>
          <pc:sldMk cId="2277262570" sldId="2446"/>
        </pc:sldMkLst>
      </pc:sldChg>
      <pc:sldChg chg="del">
        <pc:chgData name="Aurelien Domont" userId="6da7715ce44349b3" providerId="LiveId" clId="{DD7A0E01-749D-45C4-96FC-6F83907F0FD2}" dt="2022-11-11T05:14:59.317" v="3" actId="47"/>
        <pc:sldMkLst>
          <pc:docMk/>
          <pc:sldMk cId="652277943" sldId="2447"/>
        </pc:sldMkLst>
      </pc:sldChg>
      <pc:sldChg chg="del">
        <pc:chgData name="Aurelien Domont" userId="6da7715ce44349b3" providerId="LiveId" clId="{DD7A0E01-749D-45C4-96FC-6F83907F0FD2}" dt="2022-11-11T05:14:59.317" v="3" actId="47"/>
        <pc:sldMkLst>
          <pc:docMk/>
          <pc:sldMk cId="1863019518" sldId="2448"/>
        </pc:sldMkLst>
      </pc:sldChg>
      <pc:sldChg chg="del">
        <pc:chgData name="Aurelien Domont" userId="6da7715ce44349b3" providerId="LiveId" clId="{DD7A0E01-749D-45C4-96FC-6F83907F0FD2}" dt="2022-11-11T05:14:59.317" v="3" actId="47"/>
        <pc:sldMkLst>
          <pc:docMk/>
          <pc:sldMk cId="3940764533" sldId="2449"/>
        </pc:sldMkLst>
      </pc:sldChg>
      <pc:sldChg chg="del">
        <pc:chgData name="Aurelien Domont" userId="6da7715ce44349b3" providerId="LiveId" clId="{DD7A0E01-749D-45C4-96FC-6F83907F0FD2}" dt="2022-11-11T05:14:59.317" v="3" actId="47"/>
        <pc:sldMkLst>
          <pc:docMk/>
          <pc:sldMk cId="448817993" sldId="2450"/>
        </pc:sldMkLst>
      </pc:sldChg>
      <pc:sldChg chg="del">
        <pc:chgData name="Aurelien Domont" userId="6da7715ce44349b3" providerId="LiveId" clId="{DD7A0E01-749D-45C4-96FC-6F83907F0FD2}" dt="2022-11-11T05:14:59.317" v="3" actId="47"/>
        <pc:sldMkLst>
          <pc:docMk/>
          <pc:sldMk cId="2804260397" sldId="2451"/>
        </pc:sldMkLst>
      </pc:sldChg>
      <pc:sldChg chg="del">
        <pc:chgData name="Aurelien Domont" userId="6da7715ce44349b3" providerId="LiveId" clId="{DD7A0E01-749D-45C4-96FC-6F83907F0FD2}" dt="2022-11-11T05:14:59.317" v="3" actId="47"/>
        <pc:sldMkLst>
          <pc:docMk/>
          <pc:sldMk cId="3306386452" sldId="2452"/>
        </pc:sldMkLst>
      </pc:sldChg>
      <pc:sldChg chg="del">
        <pc:chgData name="Aurelien Domont" userId="6da7715ce44349b3" providerId="LiveId" clId="{DD7A0E01-749D-45C4-96FC-6F83907F0FD2}" dt="2022-11-11T05:14:59.317" v="3" actId="47"/>
        <pc:sldMkLst>
          <pc:docMk/>
          <pc:sldMk cId="1954741902" sldId="2453"/>
        </pc:sldMkLst>
      </pc:sldChg>
      <pc:sldChg chg="del">
        <pc:chgData name="Aurelien Domont" userId="6da7715ce44349b3" providerId="LiveId" clId="{DD7A0E01-749D-45C4-96FC-6F83907F0FD2}" dt="2022-11-11T05:14:59.317" v="3" actId="47"/>
        <pc:sldMkLst>
          <pc:docMk/>
          <pc:sldMk cId="110316594" sldId="2454"/>
        </pc:sldMkLst>
      </pc:sldChg>
      <pc:sldChg chg="del">
        <pc:chgData name="Aurelien Domont" userId="6da7715ce44349b3" providerId="LiveId" clId="{DD7A0E01-749D-45C4-96FC-6F83907F0FD2}" dt="2022-11-11T05:14:59.317" v="3" actId="47"/>
        <pc:sldMkLst>
          <pc:docMk/>
          <pc:sldMk cId="1985687095" sldId="2456"/>
        </pc:sldMkLst>
      </pc:sldChg>
      <pc:sldChg chg="del">
        <pc:chgData name="Aurelien Domont" userId="6da7715ce44349b3" providerId="LiveId" clId="{DD7A0E01-749D-45C4-96FC-6F83907F0FD2}" dt="2022-11-11T05:14:59.317" v="3" actId="47"/>
        <pc:sldMkLst>
          <pc:docMk/>
          <pc:sldMk cId="168774925" sldId="2457"/>
        </pc:sldMkLst>
      </pc:sldChg>
      <pc:sldChg chg="del">
        <pc:chgData name="Aurelien Domont" userId="6da7715ce44349b3" providerId="LiveId" clId="{DD7A0E01-749D-45C4-96FC-6F83907F0FD2}" dt="2022-11-11T05:14:59.317" v="3" actId="47"/>
        <pc:sldMkLst>
          <pc:docMk/>
          <pc:sldMk cId="4275428970" sldId="2458"/>
        </pc:sldMkLst>
      </pc:sldChg>
      <pc:sldChg chg="del">
        <pc:chgData name="Aurelien Domont" userId="6da7715ce44349b3" providerId="LiveId" clId="{DD7A0E01-749D-45C4-96FC-6F83907F0FD2}" dt="2022-11-11T05:14:59.317" v="3" actId="47"/>
        <pc:sldMkLst>
          <pc:docMk/>
          <pc:sldMk cId="3206494395" sldId="2459"/>
        </pc:sldMkLst>
      </pc:sldChg>
      <pc:sldChg chg="del">
        <pc:chgData name="Aurelien Domont" userId="6da7715ce44349b3" providerId="LiveId" clId="{DD7A0E01-749D-45C4-96FC-6F83907F0FD2}" dt="2022-11-11T05:14:59.317" v="3" actId="47"/>
        <pc:sldMkLst>
          <pc:docMk/>
          <pc:sldMk cId="1757491115" sldId="2460"/>
        </pc:sldMkLst>
      </pc:sldChg>
      <pc:sldChg chg="del">
        <pc:chgData name="Aurelien Domont" userId="6da7715ce44349b3" providerId="LiveId" clId="{DD7A0E01-749D-45C4-96FC-6F83907F0FD2}" dt="2022-11-11T05:14:59.317" v="3" actId="47"/>
        <pc:sldMkLst>
          <pc:docMk/>
          <pc:sldMk cId="1068178709" sldId="2467"/>
        </pc:sldMkLst>
      </pc:sldChg>
      <pc:sldChg chg="del">
        <pc:chgData name="Aurelien Domont" userId="6da7715ce44349b3" providerId="LiveId" clId="{DD7A0E01-749D-45C4-96FC-6F83907F0FD2}" dt="2022-11-11T05:14:59.317" v="3" actId="47"/>
        <pc:sldMkLst>
          <pc:docMk/>
          <pc:sldMk cId="974899473" sldId="2470"/>
        </pc:sldMkLst>
      </pc:sldChg>
      <pc:sldChg chg="del">
        <pc:chgData name="Aurelien Domont" userId="6da7715ce44349b3" providerId="LiveId" clId="{DD7A0E01-749D-45C4-96FC-6F83907F0FD2}" dt="2022-11-11T05:14:59.317" v="3" actId="47"/>
        <pc:sldMkLst>
          <pc:docMk/>
          <pc:sldMk cId="3189877031" sldId="2471"/>
        </pc:sldMkLst>
      </pc:sldChg>
      <pc:sldChg chg="del">
        <pc:chgData name="Aurelien Domont" userId="6da7715ce44349b3" providerId="LiveId" clId="{DD7A0E01-749D-45C4-96FC-6F83907F0FD2}" dt="2022-11-11T05:14:59.317" v="3" actId="47"/>
        <pc:sldMkLst>
          <pc:docMk/>
          <pc:sldMk cId="3546586697" sldId="2472"/>
        </pc:sldMkLst>
      </pc:sldChg>
      <pc:sldChg chg="del">
        <pc:chgData name="Aurelien Domont" userId="6da7715ce44349b3" providerId="LiveId" clId="{DD7A0E01-749D-45C4-96FC-6F83907F0FD2}" dt="2022-11-11T05:14:59.317" v="3" actId="47"/>
        <pc:sldMkLst>
          <pc:docMk/>
          <pc:sldMk cId="262588288" sldId="2473"/>
        </pc:sldMkLst>
      </pc:sldChg>
      <pc:sldChg chg="del">
        <pc:chgData name="Aurelien Domont" userId="6da7715ce44349b3" providerId="LiveId" clId="{DD7A0E01-749D-45C4-96FC-6F83907F0FD2}" dt="2022-11-11T05:14:59.317" v="3" actId="47"/>
        <pc:sldMkLst>
          <pc:docMk/>
          <pc:sldMk cId="1187772245" sldId="2474"/>
        </pc:sldMkLst>
      </pc:sldChg>
      <pc:sldChg chg="del">
        <pc:chgData name="Aurelien Domont" userId="6da7715ce44349b3" providerId="LiveId" clId="{DD7A0E01-749D-45C4-96FC-6F83907F0FD2}" dt="2022-11-11T05:14:59.317" v="3" actId="47"/>
        <pc:sldMkLst>
          <pc:docMk/>
          <pc:sldMk cId="509535835" sldId="2475"/>
        </pc:sldMkLst>
      </pc:sldChg>
      <pc:sldChg chg="del">
        <pc:chgData name="Aurelien Domont" userId="6da7715ce44349b3" providerId="LiveId" clId="{DD7A0E01-749D-45C4-96FC-6F83907F0FD2}" dt="2022-11-11T05:14:59.317" v="3" actId="47"/>
        <pc:sldMkLst>
          <pc:docMk/>
          <pc:sldMk cId="1897961408" sldId="2476"/>
        </pc:sldMkLst>
      </pc:sldChg>
      <pc:sldChg chg="del">
        <pc:chgData name="Aurelien Domont" userId="6da7715ce44349b3" providerId="LiveId" clId="{DD7A0E01-749D-45C4-96FC-6F83907F0FD2}" dt="2022-11-11T05:14:59.317" v="3" actId="47"/>
        <pc:sldMkLst>
          <pc:docMk/>
          <pc:sldMk cId="987616757" sldId="2477"/>
        </pc:sldMkLst>
      </pc:sldChg>
      <pc:sldChg chg="del">
        <pc:chgData name="Aurelien Domont" userId="6da7715ce44349b3" providerId="LiveId" clId="{DD7A0E01-749D-45C4-96FC-6F83907F0FD2}" dt="2022-11-11T05:20:36.285" v="146" actId="47"/>
        <pc:sldMkLst>
          <pc:docMk/>
          <pc:sldMk cId="654954127" sldId="2479"/>
        </pc:sldMkLst>
      </pc:sldChg>
      <pc:sldChg chg="del">
        <pc:chgData name="Aurelien Domont" userId="6da7715ce44349b3" providerId="LiveId" clId="{DD7A0E01-749D-45C4-96FC-6F83907F0FD2}" dt="2022-11-11T05:14:59.317" v="3" actId="47"/>
        <pc:sldMkLst>
          <pc:docMk/>
          <pc:sldMk cId="966984585" sldId="2480"/>
        </pc:sldMkLst>
      </pc:sldChg>
      <pc:sldChg chg="del">
        <pc:chgData name="Aurelien Domont" userId="6da7715ce44349b3" providerId="LiveId" clId="{DD7A0E01-749D-45C4-96FC-6F83907F0FD2}" dt="2022-11-11T05:14:59.317" v="3" actId="47"/>
        <pc:sldMkLst>
          <pc:docMk/>
          <pc:sldMk cId="1983022639" sldId="2481"/>
        </pc:sldMkLst>
      </pc:sldChg>
      <pc:sldChg chg="del">
        <pc:chgData name="Aurelien Domont" userId="6da7715ce44349b3" providerId="LiveId" clId="{DD7A0E01-749D-45C4-96FC-6F83907F0FD2}" dt="2022-11-11T05:14:59.317" v="3" actId="47"/>
        <pc:sldMkLst>
          <pc:docMk/>
          <pc:sldMk cId="2149415452" sldId="2491"/>
        </pc:sldMkLst>
      </pc:sldChg>
      <pc:sldChg chg="del">
        <pc:chgData name="Aurelien Domont" userId="6da7715ce44349b3" providerId="LiveId" clId="{DD7A0E01-749D-45C4-96FC-6F83907F0FD2}" dt="2022-11-11T05:14:59.317" v="3" actId="47"/>
        <pc:sldMkLst>
          <pc:docMk/>
          <pc:sldMk cId="2213929960" sldId="2492"/>
        </pc:sldMkLst>
      </pc:sldChg>
      <pc:sldChg chg="del">
        <pc:chgData name="Aurelien Domont" userId="6da7715ce44349b3" providerId="LiveId" clId="{DD7A0E01-749D-45C4-96FC-6F83907F0FD2}" dt="2022-11-11T05:14:59.317" v="3" actId="47"/>
        <pc:sldMkLst>
          <pc:docMk/>
          <pc:sldMk cId="4173811452" sldId="2493"/>
        </pc:sldMkLst>
      </pc:sldChg>
      <pc:sldChg chg="del">
        <pc:chgData name="Aurelien Domont" userId="6da7715ce44349b3" providerId="LiveId" clId="{DD7A0E01-749D-45C4-96FC-6F83907F0FD2}" dt="2022-11-11T05:14:59.317" v="3" actId="47"/>
        <pc:sldMkLst>
          <pc:docMk/>
          <pc:sldMk cId="2995411495" sldId="2494"/>
        </pc:sldMkLst>
      </pc:sldChg>
      <pc:sldChg chg="del">
        <pc:chgData name="Aurelien Domont" userId="6da7715ce44349b3" providerId="LiveId" clId="{DD7A0E01-749D-45C4-96FC-6F83907F0FD2}" dt="2022-11-11T05:14:59.317" v="3" actId="47"/>
        <pc:sldMkLst>
          <pc:docMk/>
          <pc:sldMk cId="637621387" sldId="2495"/>
        </pc:sldMkLst>
      </pc:sldChg>
      <pc:sldChg chg="del">
        <pc:chgData name="Aurelien Domont" userId="6da7715ce44349b3" providerId="LiveId" clId="{DD7A0E01-749D-45C4-96FC-6F83907F0FD2}" dt="2022-11-11T05:14:59.317" v="3" actId="47"/>
        <pc:sldMkLst>
          <pc:docMk/>
          <pc:sldMk cId="4006700188" sldId="2496"/>
        </pc:sldMkLst>
      </pc:sldChg>
      <pc:sldChg chg="del">
        <pc:chgData name="Aurelien Domont" userId="6da7715ce44349b3" providerId="LiveId" clId="{DD7A0E01-749D-45C4-96FC-6F83907F0FD2}" dt="2022-11-11T05:14:59.317" v="3" actId="47"/>
        <pc:sldMkLst>
          <pc:docMk/>
          <pc:sldMk cId="1016142014" sldId="2497"/>
        </pc:sldMkLst>
      </pc:sldChg>
      <pc:sldChg chg="del">
        <pc:chgData name="Aurelien Domont" userId="6da7715ce44349b3" providerId="LiveId" clId="{DD7A0E01-749D-45C4-96FC-6F83907F0FD2}" dt="2022-11-11T05:14:59.317" v="3" actId="47"/>
        <pc:sldMkLst>
          <pc:docMk/>
          <pc:sldMk cId="886454768" sldId="2498"/>
        </pc:sldMkLst>
      </pc:sldChg>
      <pc:sldChg chg="del">
        <pc:chgData name="Aurelien Domont" userId="6da7715ce44349b3" providerId="LiveId" clId="{DD7A0E01-749D-45C4-96FC-6F83907F0FD2}" dt="2022-11-11T05:14:59.317" v="3" actId="47"/>
        <pc:sldMkLst>
          <pc:docMk/>
          <pc:sldMk cId="1313741628" sldId="2499"/>
        </pc:sldMkLst>
      </pc:sldChg>
      <pc:sldChg chg="del">
        <pc:chgData name="Aurelien Domont" userId="6da7715ce44349b3" providerId="LiveId" clId="{DD7A0E01-749D-45C4-96FC-6F83907F0FD2}" dt="2022-11-11T05:14:59.317" v="3" actId="47"/>
        <pc:sldMkLst>
          <pc:docMk/>
          <pc:sldMk cId="1722016442" sldId="2500"/>
        </pc:sldMkLst>
      </pc:sldChg>
      <pc:sldChg chg="del">
        <pc:chgData name="Aurelien Domont" userId="6da7715ce44349b3" providerId="LiveId" clId="{DD7A0E01-749D-45C4-96FC-6F83907F0FD2}" dt="2022-11-11T05:14:59.317" v="3" actId="47"/>
        <pc:sldMkLst>
          <pc:docMk/>
          <pc:sldMk cId="2042196424" sldId="2501"/>
        </pc:sldMkLst>
      </pc:sldChg>
      <pc:sldChg chg="del">
        <pc:chgData name="Aurelien Domont" userId="6da7715ce44349b3" providerId="LiveId" clId="{DD7A0E01-749D-45C4-96FC-6F83907F0FD2}" dt="2022-11-11T05:14:59.317" v="3" actId="47"/>
        <pc:sldMkLst>
          <pc:docMk/>
          <pc:sldMk cId="626365902" sldId="2502"/>
        </pc:sldMkLst>
      </pc:sldChg>
      <pc:sldChg chg="modSp add mod">
        <pc:chgData name="Aurelien Domont" userId="6da7715ce44349b3" providerId="LiveId" clId="{DD7A0E01-749D-45C4-96FC-6F83907F0FD2}" dt="2022-11-11T05:18:55.119" v="60" actId="14100"/>
        <pc:sldMkLst>
          <pc:docMk/>
          <pc:sldMk cId="2753049151" sldId="2511"/>
        </pc:sldMkLst>
        <pc:spChg chg="mod">
          <ac:chgData name="Aurelien Domont" userId="6da7715ce44349b3" providerId="LiveId" clId="{DD7A0E01-749D-45C4-96FC-6F83907F0FD2}" dt="2022-11-11T05:18:55.119" v="60" actId="14100"/>
          <ac:spMkLst>
            <pc:docMk/>
            <pc:sldMk cId="2753049151" sldId="2511"/>
            <ac:spMk id="2" creationId="{AAFA054E-BCD0-FEF8-FA7E-BE8519026C16}"/>
          </ac:spMkLst>
        </pc:spChg>
      </pc:sldChg>
      <pc:sldChg chg="modSp add mod">
        <pc:chgData name="Aurelien Domont" userId="6da7715ce44349b3" providerId="LiveId" clId="{DD7A0E01-749D-45C4-96FC-6F83907F0FD2}" dt="2022-11-11T05:19:13.945" v="85" actId="1035"/>
        <pc:sldMkLst>
          <pc:docMk/>
          <pc:sldMk cId="1395698763" sldId="2512"/>
        </pc:sldMkLst>
        <pc:spChg chg="mod">
          <ac:chgData name="Aurelien Domont" userId="6da7715ce44349b3" providerId="LiveId" clId="{DD7A0E01-749D-45C4-96FC-6F83907F0FD2}" dt="2022-11-11T05:19:13.945" v="85" actId="1035"/>
          <ac:spMkLst>
            <pc:docMk/>
            <pc:sldMk cId="1395698763" sldId="2512"/>
            <ac:spMk id="2" creationId="{AAFA054E-BCD0-FEF8-FA7E-BE8519026C16}"/>
          </ac:spMkLst>
        </pc:spChg>
      </pc:sldChg>
      <pc:sldChg chg="modSp add mod">
        <pc:chgData name="Aurelien Domont" userId="6da7715ce44349b3" providerId="LiveId" clId="{DD7A0E01-749D-45C4-96FC-6F83907F0FD2}" dt="2022-11-11T05:19:29.900" v="102" actId="1035"/>
        <pc:sldMkLst>
          <pc:docMk/>
          <pc:sldMk cId="2218751780" sldId="2513"/>
        </pc:sldMkLst>
        <pc:spChg chg="mod">
          <ac:chgData name="Aurelien Domont" userId="6da7715ce44349b3" providerId="LiveId" clId="{DD7A0E01-749D-45C4-96FC-6F83907F0FD2}" dt="2022-11-11T05:19:29.900" v="102" actId="1035"/>
          <ac:spMkLst>
            <pc:docMk/>
            <pc:sldMk cId="2218751780" sldId="2513"/>
            <ac:spMk id="2" creationId="{AAFA054E-BCD0-FEF8-FA7E-BE8519026C16}"/>
          </ac:spMkLst>
        </pc:spChg>
      </pc:sldChg>
      <pc:sldChg chg="modSp add mod">
        <pc:chgData name="Aurelien Domont" userId="6da7715ce44349b3" providerId="LiveId" clId="{DD7A0E01-749D-45C4-96FC-6F83907F0FD2}" dt="2022-11-11T05:20:01.921" v="123" actId="1036"/>
        <pc:sldMkLst>
          <pc:docMk/>
          <pc:sldMk cId="2084959338" sldId="2514"/>
        </pc:sldMkLst>
        <pc:spChg chg="mod">
          <ac:chgData name="Aurelien Domont" userId="6da7715ce44349b3" providerId="LiveId" clId="{DD7A0E01-749D-45C4-96FC-6F83907F0FD2}" dt="2022-11-11T05:20:01.921" v="123" actId="1036"/>
          <ac:spMkLst>
            <pc:docMk/>
            <pc:sldMk cId="2084959338" sldId="2514"/>
            <ac:spMk id="2" creationId="{AAFA054E-BCD0-FEF8-FA7E-BE8519026C16}"/>
          </ac:spMkLst>
        </pc:spChg>
      </pc:sldChg>
      <pc:sldChg chg="modSp add mod">
        <pc:chgData name="Aurelien Domont" userId="6da7715ce44349b3" providerId="LiveId" clId="{DD7A0E01-749D-45C4-96FC-6F83907F0FD2}" dt="2022-11-11T05:20:25.829" v="144" actId="14100"/>
        <pc:sldMkLst>
          <pc:docMk/>
          <pc:sldMk cId="3773191018" sldId="2515"/>
        </pc:sldMkLst>
        <pc:spChg chg="mod">
          <ac:chgData name="Aurelien Domont" userId="6da7715ce44349b3" providerId="LiveId" clId="{DD7A0E01-749D-45C4-96FC-6F83907F0FD2}" dt="2022-11-11T05:20:25.829" v="144" actId="14100"/>
          <ac:spMkLst>
            <pc:docMk/>
            <pc:sldMk cId="3773191018" sldId="2515"/>
            <ac:spMk id="2" creationId="{AAFA054E-BCD0-FEF8-FA7E-BE8519026C16}"/>
          </ac:spMkLst>
        </pc:spChg>
      </pc:sldChg>
      <pc:sldChg chg="modSp add mod">
        <pc:chgData name="Aurelien Domont" userId="6da7715ce44349b3" providerId="LiveId" clId="{DD7A0E01-749D-45C4-96FC-6F83907F0FD2}" dt="2022-11-11T05:20:41.858" v="162" actId="1036"/>
        <pc:sldMkLst>
          <pc:docMk/>
          <pc:sldMk cId="1309967427" sldId="2516"/>
        </pc:sldMkLst>
        <pc:spChg chg="mod">
          <ac:chgData name="Aurelien Domont" userId="6da7715ce44349b3" providerId="LiveId" clId="{DD7A0E01-749D-45C4-96FC-6F83907F0FD2}" dt="2022-11-11T05:20:41.858" v="162" actId="1036"/>
          <ac:spMkLst>
            <pc:docMk/>
            <pc:sldMk cId="1309967427" sldId="2516"/>
            <ac:spMk id="2" creationId="{AAFA054E-BCD0-FEF8-FA7E-BE8519026C16}"/>
          </ac:spMkLst>
        </pc:spChg>
      </pc:sldChg>
    </pc:docChg>
  </pc:docChgLst>
  <pc:docChgLst>
    <pc:chgData name="Aurelien Domont" userId="6da7715ce44349b3" providerId="LiveId" clId="{C37E6FE4-15B9-445D-9A12-9B3805BC54CA}"/>
    <pc:docChg chg="undo custSel addSld delSld modSld sldOrd">
      <pc:chgData name="Aurelien Domont" userId="6da7715ce44349b3" providerId="LiveId" clId="{C37E6FE4-15B9-445D-9A12-9B3805BC54CA}" dt="2021-05-27T02:03:16.980" v="2475" actId="20577"/>
      <pc:docMkLst>
        <pc:docMk/>
      </pc:docMkLst>
      <pc:sldChg chg="addSp delSp modSp mod">
        <pc:chgData name="Aurelien Domont" userId="6da7715ce44349b3" providerId="LiveId" clId="{C37E6FE4-15B9-445D-9A12-9B3805BC54CA}" dt="2021-05-26T08:05:36.158" v="1920"/>
        <pc:sldMkLst>
          <pc:docMk/>
          <pc:sldMk cId="3131901387" sldId="256"/>
        </pc:sldMkLst>
        <pc:spChg chg="mod">
          <ac:chgData name="Aurelien Domont" userId="6da7715ce44349b3" providerId="LiveId" clId="{C37E6FE4-15B9-445D-9A12-9B3805BC54CA}" dt="2021-05-26T04:50:52.067" v="2"/>
          <ac:spMkLst>
            <pc:docMk/>
            <pc:sldMk cId="3131901387" sldId="256"/>
            <ac:spMk id="2" creationId="{5261080C-C60C-4746-B6B1-A9A4FFA86785}"/>
          </ac:spMkLst>
        </pc:spChg>
        <pc:spChg chg="del">
          <ac:chgData name="Aurelien Domont" userId="6da7715ce44349b3" providerId="LiveId" clId="{C37E6FE4-15B9-445D-9A12-9B3805BC54CA}" dt="2021-05-26T08:05:32.117" v="1916" actId="478"/>
          <ac:spMkLst>
            <pc:docMk/>
            <pc:sldMk cId="3131901387" sldId="256"/>
            <ac:spMk id="3" creationId="{D781CD62-85AB-400E-A66C-9594AAD807B4}"/>
          </ac:spMkLst>
        </pc:spChg>
        <pc:spChg chg="add del mod">
          <ac:chgData name="Aurelien Domont" userId="6da7715ce44349b3" providerId="LiveId" clId="{C37E6FE4-15B9-445D-9A12-9B3805BC54CA}" dt="2021-05-26T08:05:35.905" v="1919" actId="478"/>
          <ac:spMkLst>
            <pc:docMk/>
            <pc:sldMk cId="3131901387" sldId="256"/>
            <ac:spMk id="13" creationId="{97A657ED-7C2E-4434-AA6C-4542243C4086}"/>
          </ac:spMkLst>
        </pc:spChg>
        <pc:spChg chg="add del mod">
          <ac:chgData name="Aurelien Domont" userId="6da7715ce44349b3" providerId="LiveId" clId="{C37E6FE4-15B9-445D-9A12-9B3805BC54CA}" dt="2021-05-26T08:05:33.409" v="1918"/>
          <ac:spMkLst>
            <pc:docMk/>
            <pc:sldMk cId="3131901387" sldId="256"/>
            <ac:spMk id="15" creationId="{5D2F65DC-C08F-4F6E-A394-D12D1F413A64}"/>
          </ac:spMkLst>
        </pc:spChg>
        <pc:spChg chg="add mod">
          <ac:chgData name="Aurelien Domont" userId="6da7715ce44349b3" providerId="LiveId" clId="{C37E6FE4-15B9-445D-9A12-9B3805BC54CA}" dt="2021-05-26T08:05:36.158" v="1920"/>
          <ac:spMkLst>
            <pc:docMk/>
            <pc:sldMk cId="3131901387" sldId="256"/>
            <ac:spMk id="16" creationId="{76F01C85-5597-4F3A-B0CF-5238211B79DA}"/>
          </ac:spMkLst>
        </pc:spChg>
        <pc:picChg chg="del">
          <ac:chgData name="Aurelien Domont" userId="6da7715ce44349b3" providerId="LiveId" clId="{C37E6FE4-15B9-445D-9A12-9B3805BC54CA}" dt="2021-05-26T08:05:32.117" v="1916" actId="478"/>
          <ac:picMkLst>
            <pc:docMk/>
            <pc:sldMk cId="3131901387" sldId="256"/>
            <ac:picMk id="14" creationId="{2383877E-1EA1-4685-809A-0E7CCC5CBDD3}"/>
          </ac:picMkLst>
        </pc:picChg>
      </pc:sldChg>
      <pc:sldChg chg="add">
        <pc:chgData name="Aurelien Domont" userId="6da7715ce44349b3" providerId="LiveId" clId="{C37E6FE4-15B9-445D-9A12-9B3805BC54CA}" dt="2021-05-26T06:13:06.584" v="1913"/>
        <pc:sldMkLst>
          <pc:docMk/>
          <pc:sldMk cId="622165058" sldId="1482"/>
        </pc:sldMkLst>
      </pc:sldChg>
      <pc:sldChg chg="add">
        <pc:chgData name="Aurelien Domont" userId="6da7715ce44349b3" providerId="LiveId" clId="{C37E6FE4-15B9-445D-9A12-9B3805BC54CA}" dt="2021-05-26T06:13:06.584" v="1913"/>
        <pc:sldMkLst>
          <pc:docMk/>
          <pc:sldMk cId="3645339576" sldId="1483"/>
        </pc:sldMkLst>
      </pc:sldChg>
      <pc:sldChg chg="modSp add mod">
        <pc:chgData name="Aurelien Domont" userId="6da7715ce44349b3" providerId="LiveId" clId="{C37E6FE4-15B9-445D-9A12-9B3805BC54CA}" dt="2021-05-26T05:54:02.314" v="1876" actId="20577"/>
        <pc:sldMkLst>
          <pc:docMk/>
          <pc:sldMk cId="2990524837" sldId="1486"/>
        </pc:sldMkLst>
        <pc:spChg chg="mod">
          <ac:chgData name="Aurelien Domont" userId="6da7715ce44349b3" providerId="LiveId" clId="{C37E6FE4-15B9-445D-9A12-9B3805BC54CA}" dt="2021-05-26T05:54:02.314" v="1876" actId="20577"/>
          <ac:spMkLst>
            <pc:docMk/>
            <pc:sldMk cId="2990524837" sldId="1486"/>
            <ac:spMk id="27" creationId="{4E80815A-CF47-49B1-A117-AC9E49839D4E}"/>
          </ac:spMkLst>
        </pc:spChg>
      </pc:sldChg>
      <pc:sldChg chg="add">
        <pc:chgData name="Aurelien Domont" userId="6da7715ce44349b3" providerId="LiveId" clId="{C37E6FE4-15B9-445D-9A12-9B3805BC54CA}" dt="2021-05-26T06:14:54.423" v="1914"/>
        <pc:sldMkLst>
          <pc:docMk/>
          <pc:sldMk cId="3072119178" sldId="1488"/>
        </pc:sldMkLst>
      </pc:sldChg>
      <pc:sldChg chg="add">
        <pc:chgData name="Aurelien Domont" userId="6da7715ce44349b3" providerId="LiveId" clId="{C37E6FE4-15B9-445D-9A12-9B3805BC54CA}" dt="2021-05-26T04:54:33.450" v="67"/>
        <pc:sldMkLst>
          <pc:docMk/>
          <pc:sldMk cId="926313830" sldId="1489"/>
        </pc:sldMkLst>
      </pc:sldChg>
      <pc:sldChg chg="add">
        <pc:chgData name="Aurelien Domont" userId="6da7715ce44349b3" providerId="LiveId" clId="{C37E6FE4-15B9-445D-9A12-9B3805BC54CA}" dt="2021-05-26T04:54:33.450" v="67"/>
        <pc:sldMkLst>
          <pc:docMk/>
          <pc:sldMk cId="3370215172" sldId="1490"/>
        </pc:sldMkLst>
      </pc:sldChg>
      <pc:sldChg chg="add del">
        <pc:chgData name="Aurelien Domont" userId="6da7715ce44349b3" providerId="LiveId" clId="{C37E6FE4-15B9-445D-9A12-9B3805BC54CA}" dt="2021-05-26T05:58:31.542" v="1880" actId="47"/>
        <pc:sldMkLst>
          <pc:docMk/>
          <pc:sldMk cId="3022188194" sldId="1518"/>
        </pc:sldMkLst>
      </pc:sldChg>
      <pc:sldChg chg="addSp delSp modSp add del mod">
        <pc:chgData name="Aurelien Domont" userId="6da7715ce44349b3" providerId="LiveId" clId="{C37E6FE4-15B9-445D-9A12-9B3805BC54CA}" dt="2021-05-26T05:54:36.858" v="1877" actId="47"/>
        <pc:sldMkLst>
          <pc:docMk/>
          <pc:sldMk cId="2976285416" sldId="1520"/>
        </pc:sldMkLst>
        <pc:spChg chg="mod">
          <ac:chgData name="Aurelien Domont" userId="6da7715ce44349b3" providerId="LiveId" clId="{C37E6FE4-15B9-445D-9A12-9B3805BC54CA}" dt="2021-05-26T05:40:20.351" v="1208" actId="20577"/>
          <ac:spMkLst>
            <pc:docMk/>
            <pc:sldMk cId="2976285416" sldId="1520"/>
            <ac:spMk id="14" creationId="{C9800183-F524-4412-AB39-A6E1A21FF0B3}"/>
          </ac:spMkLst>
        </pc:spChg>
        <pc:spChg chg="add del mod">
          <ac:chgData name="Aurelien Domont" userId="6da7715ce44349b3" providerId="LiveId" clId="{C37E6FE4-15B9-445D-9A12-9B3805BC54CA}" dt="2021-05-26T05:44:12.516" v="1410" actId="478"/>
          <ac:spMkLst>
            <pc:docMk/>
            <pc:sldMk cId="2976285416" sldId="1520"/>
            <ac:spMk id="20" creationId="{D88841C8-0622-4D05-91CE-25B9A2AD78F2}"/>
          </ac:spMkLst>
        </pc:spChg>
        <pc:spChg chg="del mod">
          <ac:chgData name="Aurelien Domont" userId="6da7715ce44349b3" providerId="LiveId" clId="{C37E6FE4-15B9-445D-9A12-9B3805BC54CA}" dt="2021-05-26T05:40:46.605" v="1210" actId="478"/>
          <ac:spMkLst>
            <pc:docMk/>
            <pc:sldMk cId="2976285416" sldId="1520"/>
            <ac:spMk id="38" creationId="{9BE856EA-A840-4319-947D-2CE5B1774FE9}"/>
          </ac:spMkLst>
        </pc:spChg>
      </pc:sldChg>
      <pc:sldChg chg="add">
        <pc:chgData name="Aurelien Domont" userId="6da7715ce44349b3" providerId="LiveId" clId="{C37E6FE4-15B9-445D-9A12-9B3805BC54CA}" dt="2021-05-26T04:53:38.376" v="40"/>
        <pc:sldMkLst>
          <pc:docMk/>
          <pc:sldMk cId="359603823" sldId="1539"/>
        </pc:sldMkLst>
      </pc:sldChg>
      <pc:sldChg chg="add">
        <pc:chgData name="Aurelien Domont" userId="6da7715ce44349b3" providerId="LiveId" clId="{C37E6FE4-15B9-445D-9A12-9B3805BC54CA}" dt="2021-05-26T04:53:38.376" v="40"/>
        <pc:sldMkLst>
          <pc:docMk/>
          <pc:sldMk cId="3822864552" sldId="1540"/>
        </pc:sldMkLst>
      </pc:sldChg>
      <pc:sldChg chg="add">
        <pc:chgData name="Aurelien Domont" userId="6da7715ce44349b3" providerId="LiveId" clId="{C37E6FE4-15B9-445D-9A12-9B3805BC54CA}" dt="2021-05-26T04:53:38.376" v="40"/>
        <pc:sldMkLst>
          <pc:docMk/>
          <pc:sldMk cId="396583763" sldId="1541"/>
        </pc:sldMkLst>
      </pc:sldChg>
      <pc:sldChg chg="add">
        <pc:chgData name="Aurelien Domont" userId="6da7715ce44349b3" providerId="LiveId" clId="{C37E6FE4-15B9-445D-9A12-9B3805BC54CA}" dt="2021-05-26T04:53:38.376" v="40"/>
        <pc:sldMkLst>
          <pc:docMk/>
          <pc:sldMk cId="248084048" sldId="1542"/>
        </pc:sldMkLst>
      </pc:sldChg>
      <pc:sldChg chg="add">
        <pc:chgData name="Aurelien Domont" userId="6da7715ce44349b3" providerId="LiveId" clId="{C37E6FE4-15B9-445D-9A12-9B3805BC54CA}" dt="2021-05-26T04:53:38.376" v="40"/>
        <pc:sldMkLst>
          <pc:docMk/>
          <pc:sldMk cId="1881042919" sldId="1543"/>
        </pc:sldMkLst>
      </pc:sldChg>
      <pc:sldChg chg="add">
        <pc:chgData name="Aurelien Domont" userId="6da7715ce44349b3" providerId="LiveId" clId="{C37E6FE4-15B9-445D-9A12-9B3805BC54CA}" dt="2021-05-26T04:53:38.376" v="40"/>
        <pc:sldMkLst>
          <pc:docMk/>
          <pc:sldMk cId="481203502" sldId="1544"/>
        </pc:sldMkLst>
      </pc:sldChg>
      <pc:sldChg chg="add">
        <pc:chgData name="Aurelien Domont" userId="6da7715ce44349b3" providerId="LiveId" clId="{C37E6FE4-15B9-445D-9A12-9B3805BC54CA}" dt="2021-05-26T04:53:38.376" v="40"/>
        <pc:sldMkLst>
          <pc:docMk/>
          <pc:sldMk cId="3474761269" sldId="1546"/>
        </pc:sldMkLst>
      </pc:sldChg>
      <pc:sldChg chg="add del">
        <pc:chgData name="Aurelien Domont" userId="6da7715ce44349b3" providerId="LiveId" clId="{C37E6FE4-15B9-445D-9A12-9B3805BC54CA}" dt="2021-05-26T06:00:16.814" v="1882" actId="47"/>
        <pc:sldMkLst>
          <pc:docMk/>
          <pc:sldMk cId="2466383549" sldId="1547"/>
        </pc:sldMkLst>
      </pc:sldChg>
      <pc:sldChg chg="add">
        <pc:chgData name="Aurelien Domont" userId="6da7715ce44349b3" providerId="LiveId" clId="{C37E6FE4-15B9-445D-9A12-9B3805BC54CA}" dt="2021-05-26T04:53:38.376" v="40"/>
        <pc:sldMkLst>
          <pc:docMk/>
          <pc:sldMk cId="4116996389" sldId="1548"/>
        </pc:sldMkLst>
      </pc:sldChg>
      <pc:sldChg chg="add">
        <pc:chgData name="Aurelien Domont" userId="6da7715ce44349b3" providerId="LiveId" clId="{C37E6FE4-15B9-445D-9A12-9B3805BC54CA}" dt="2021-05-26T04:53:38.376" v="40"/>
        <pc:sldMkLst>
          <pc:docMk/>
          <pc:sldMk cId="3289359821" sldId="1549"/>
        </pc:sldMkLst>
      </pc:sldChg>
      <pc:sldChg chg="add">
        <pc:chgData name="Aurelien Domont" userId="6da7715ce44349b3" providerId="LiveId" clId="{C37E6FE4-15B9-445D-9A12-9B3805BC54CA}" dt="2021-05-26T04:53:38.376" v="40"/>
        <pc:sldMkLst>
          <pc:docMk/>
          <pc:sldMk cId="4238157380" sldId="1550"/>
        </pc:sldMkLst>
      </pc:sldChg>
      <pc:sldChg chg="add">
        <pc:chgData name="Aurelien Domont" userId="6da7715ce44349b3" providerId="LiveId" clId="{C37E6FE4-15B9-445D-9A12-9B3805BC54CA}" dt="2021-05-26T04:53:38.376" v="40"/>
        <pc:sldMkLst>
          <pc:docMk/>
          <pc:sldMk cId="747031334" sldId="1551"/>
        </pc:sldMkLst>
      </pc:sldChg>
      <pc:sldChg chg="add del">
        <pc:chgData name="Aurelien Domont" userId="6da7715ce44349b3" providerId="LiveId" clId="{C37E6FE4-15B9-445D-9A12-9B3805BC54CA}" dt="2021-05-26T05:50:28.137" v="1819" actId="47"/>
        <pc:sldMkLst>
          <pc:docMk/>
          <pc:sldMk cId="3717827458" sldId="1557"/>
        </pc:sldMkLst>
      </pc:sldChg>
      <pc:sldChg chg="add del">
        <pc:chgData name="Aurelien Domont" userId="6da7715ce44349b3" providerId="LiveId" clId="{C37E6FE4-15B9-445D-9A12-9B3805BC54CA}" dt="2021-05-26T05:50:28.137" v="1819" actId="47"/>
        <pc:sldMkLst>
          <pc:docMk/>
          <pc:sldMk cId="2317062444" sldId="1562"/>
        </pc:sldMkLst>
      </pc:sldChg>
      <pc:sldChg chg="add del">
        <pc:chgData name="Aurelien Domont" userId="6da7715ce44349b3" providerId="LiveId" clId="{C37E6FE4-15B9-445D-9A12-9B3805BC54CA}" dt="2021-05-26T05:31:24.643" v="880" actId="47"/>
        <pc:sldMkLst>
          <pc:docMk/>
          <pc:sldMk cId="3132763004" sldId="1563"/>
        </pc:sldMkLst>
      </pc:sldChg>
      <pc:sldChg chg="add del">
        <pc:chgData name="Aurelien Domont" userId="6da7715ce44349b3" providerId="LiveId" clId="{C37E6FE4-15B9-445D-9A12-9B3805BC54CA}" dt="2021-05-26T05:31:24.643" v="880" actId="47"/>
        <pc:sldMkLst>
          <pc:docMk/>
          <pc:sldMk cId="3562844070" sldId="1567"/>
        </pc:sldMkLst>
      </pc:sldChg>
      <pc:sldChg chg="add del">
        <pc:chgData name="Aurelien Domont" userId="6da7715ce44349b3" providerId="LiveId" clId="{C37E6FE4-15B9-445D-9A12-9B3805BC54CA}" dt="2021-05-26T05:31:24.643" v="880" actId="47"/>
        <pc:sldMkLst>
          <pc:docMk/>
          <pc:sldMk cId="2606253982" sldId="1568"/>
        </pc:sldMkLst>
      </pc:sldChg>
      <pc:sldChg chg="add del">
        <pc:chgData name="Aurelien Domont" userId="6da7715ce44349b3" providerId="LiveId" clId="{C37E6FE4-15B9-445D-9A12-9B3805BC54CA}" dt="2021-05-26T05:31:24.643" v="880" actId="47"/>
        <pc:sldMkLst>
          <pc:docMk/>
          <pc:sldMk cId="705146496" sldId="1569"/>
        </pc:sldMkLst>
      </pc:sldChg>
      <pc:sldChg chg="add del">
        <pc:chgData name="Aurelien Domont" userId="6da7715ce44349b3" providerId="LiveId" clId="{C37E6FE4-15B9-445D-9A12-9B3805BC54CA}" dt="2021-05-26T05:31:24.643" v="880" actId="47"/>
        <pc:sldMkLst>
          <pc:docMk/>
          <pc:sldMk cId="4209253123" sldId="1570"/>
        </pc:sldMkLst>
      </pc:sldChg>
      <pc:sldChg chg="add del">
        <pc:chgData name="Aurelien Domont" userId="6da7715ce44349b3" providerId="LiveId" clId="{C37E6FE4-15B9-445D-9A12-9B3805BC54CA}" dt="2021-05-26T05:31:24.643" v="880" actId="47"/>
        <pc:sldMkLst>
          <pc:docMk/>
          <pc:sldMk cId="548172080" sldId="1571"/>
        </pc:sldMkLst>
      </pc:sldChg>
      <pc:sldChg chg="modSp add mod">
        <pc:chgData name="Aurelien Domont" userId="6da7715ce44349b3" providerId="LiveId" clId="{C37E6FE4-15B9-445D-9A12-9B3805BC54CA}" dt="2021-05-26T05:57:34.195" v="1878" actId="20577"/>
        <pc:sldMkLst>
          <pc:docMk/>
          <pc:sldMk cId="729552457" sldId="1580"/>
        </pc:sldMkLst>
        <pc:spChg chg="mod">
          <ac:chgData name="Aurelien Domont" userId="6da7715ce44349b3" providerId="LiveId" clId="{C37E6FE4-15B9-445D-9A12-9B3805BC54CA}" dt="2021-05-26T05:57:34.195" v="1878" actId="20577"/>
          <ac:spMkLst>
            <pc:docMk/>
            <pc:sldMk cId="729552457" sldId="1580"/>
            <ac:spMk id="18" creationId="{D8959464-26D6-47BC-82A2-B76EE40FDE66}"/>
          </ac:spMkLst>
        </pc:spChg>
      </pc:sldChg>
      <pc:sldChg chg="add">
        <pc:chgData name="Aurelien Domont" userId="6da7715ce44349b3" providerId="LiveId" clId="{C37E6FE4-15B9-445D-9A12-9B3805BC54CA}" dt="2021-05-26T05:39:13.103" v="1200"/>
        <pc:sldMkLst>
          <pc:docMk/>
          <pc:sldMk cId="541233884" sldId="1584"/>
        </pc:sldMkLst>
      </pc:sldChg>
      <pc:sldChg chg="add">
        <pc:chgData name="Aurelien Domont" userId="6da7715ce44349b3" providerId="LiveId" clId="{C37E6FE4-15B9-445D-9A12-9B3805BC54CA}" dt="2021-05-26T05:39:13.103" v="1200"/>
        <pc:sldMkLst>
          <pc:docMk/>
          <pc:sldMk cId="1221562796" sldId="1585"/>
        </pc:sldMkLst>
      </pc:sldChg>
      <pc:sldChg chg="add">
        <pc:chgData name="Aurelien Domont" userId="6da7715ce44349b3" providerId="LiveId" clId="{C37E6FE4-15B9-445D-9A12-9B3805BC54CA}" dt="2021-05-26T05:39:13.103" v="1200"/>
        <pc:sldMkLst>
          <pc:docMk/>
          <pc:sldMk cId="3333724202" sldId="1586"/>
        </pc:sldMkLst>
      </pc:sldChg>
      <pc:sldChg chg="add">
        <pc:chgData name="Aurelien Domont" userId="6da7715ce44349b3" providerId="LiveId" clId="{C37E6FE4-15B9-445D-9A12-9B3805BC54CA}" dt="2021-05-26T05:39:13.103" v="1200"/>
        <pc:sldMkLst>
          <pc:docMk/>
          <pc:sldMk cId="2328040230" sldId="1587"/>
        </pc:sldMkLst>
      </pc:sldChg>
      <pc:sldChg chg="add">
        <pc:chgData name="Aurelien Domont" userId="6da7715ce44349b3" providerId="LiveId" clId="{C37E6FE4-15B9-445D-9A12-9B3805BC54CA}" dt="2021-05-26T05:39:13.103" v="1200"/>
        <pc:sldMkLst>
          <pc:docMk/>
          <pc:sldMk cId="416223994" sldId="1588"/>
        </pc:sldMkLst>
      </pc:sldChg>
      <pc:sldChg chg="add">
        <pc:chgData name="Aurelien Domont" userId="6da7715ce44349b3" providerId="LiveId" clId="{C37E6FE4-15B9-445D-9A12-9B3805BC54CA}" dt="2021-05-26T05:39:13.103" v="1200"/>
        <pc:sldMkLst>
          <pc:docMk/>
          <pc:sldMk cId="1962551731" sldId="1589"/>
        </pc:sldMkLst>
      </pc:sldChg>
      <pc:sldChg chg="add">
        <pc:chgData name="Aurelien Domont" userId="6da7715ce44349b3" providerId="LiveId" clId="{C37E6FE4-15B9-445D-9A12-9B3805BC54CA}" dt="2021-05-26T05:39:13.103" v="1200"/>
        <pc:sldMkLst>
          <pc:docMk/>
          <pc:sldMk cId="178148872" sldId="1590"/>
        </pc:sldMkLst>
      </pc:sldChg>
      <pc:sldChg chg="add">
        <pc:chgData name="Aurelien Domont" userId="6da7715ce44349b3" providerId="LiveId" clId="{C37E6FE4-15B9-445D-9A12-9B3805BC54CA}" dt="2021-05-26T05:39:13.103" v="1200"/>
        <pc:sldMkLst>
          <pc:docMk/>
          <pc:sldMk cId="2223111182" sldId="1591"/>
        </pc:sldMkLst>
      </pc:sldChg>
      <pc:sldChg chg="add">
        <pc:chgData name="Aurelien Domont" userId="6da7715ce44349b3" providerId="LiveId" clId="{C37E6FE4-15B9-445D-9A12-9B3805BC54CA}" dt="2021-05-26T05:39:13.103" v="1200"/>
        <pc:sldMkLst>
          <pc:docMk/>
          <pc:sldMk cId="4210937184" sldId="1592"/>
        </pc:sldMkLst>
      </pc:sldChg>
      <pc:sldChg chg="add">
        <pc:chgData name="Aurelien Domont" userId="6da7715ce44349b3" providerId="LiveId" clId="{C37E6FE4-15B9-445D-9A12-9B3805BC54CA}" dt="2021-05-26T06:06:59.772" v="1888"/>
        <pc:sldMkLst>
          <pc:docMk/>
          <pc:sldMk cId="1754585881" sldId="1598"/>
        </pc:sldMkLst>
      </pc:sldChg>
      <pc:sldChg chg="add">
        <pc:chgData name="Aurelien Domont" userId="6da7715ce44349b3" providerId="LiveId" clId="{C37E6FE4-15B9-445D-9A12-9B3805BC54CA}" dt="2021-05-26T06:06:59.772" v="1888"/>
        <pc:sldMkLst>
          <pc:docMk/>
          <pc:sldMk cId="748962572" sldId="1599"/>
        </pc:sldMkLst>
      </pc:sldChg>
      <pc:sldChg chg="add">
        <pc:chgData name="Aurelien Domont" userId="6da7715ce44349b3" providerId="LiveId" clId="{C37E6FE4-15B9-445D-9A12-9B3805BC54CA}" dt="2021-05-26T06:06:59.772" v="1888"/>
        <pc:sldMkLst>
          <pc:docMk/>
          <pc:sldMk cId="2853806433" sldId="1600"/>
        </pc:sldMkLst>
      </pc:sldChg>
      <pc:sldChg chg="add del">
        <pc:chgData name="Aurelien Domont" userId="6da7715ce44349b3" providerId="LiveId" clId="{C37E6FE4-15B9-445D-9A12-9B3805BC54CA}" dt="2021-05-26T05:50:28.137" v="1819" actId="47"/>
        <pc:sldMkLst>
          <pc:docMk/>
          <pc:sldMk cId="2644303535" sldId="1668"/>
        </pc:sldMkLst>
      </pc:sldChg>
      <pc:sldChg chg="addSp modSp add mod ord">
        <pc:chgData name="Aurelien Domont" userId="6da7715ce44349b3" providerId="LiveId" clId="{C37E6FE4-15B9-445D-9A12-9B3805BC54CA}" dt="2021-05-27T02:02:53.918" v="2418" actId="14100"/>
        <pc:sldMkLst>
          <pc:docMk/>
          <pc:sldMk cId="1133781032" sldId="1675"/>
        </pc:sldMkLst>
        <pc:spChg chg="mod">
          <ac:chgData name="Aurelien Domont" userId="6da7715ce44349b3" providerId="LiveId" clId="{C37E6FE4-15B9-445D-9A12-9B3805BC54CA}" dt="2021-05-27T02:00:53.850" v="2364" actId="20577"/>
          <ac:spMkLst>
            <pc:docMk/>
            <pc:sldMk cId="1133781032" sldId="1675"/>
            <ac:spMk id="16" creationId="{6C2BB713-9637-4B9B-938F-E9768876782A}"/>
          </ac:spMkLst>
        </pc:spChg>
        <pc:spChg chg="mod">
          <ac:chgData name="Aurelien Domont" userId="6da7715ce44349b3" providerId="LiveId" clId="{C37E6FE4-15B9-445D-9A12-9B3805BC54CA}" dt="2021-05-27T02:02:53.918" v="2418" actId="14100"/>
          <ac:spMkLst>
            <pc:docMk/>
            <pc:sldMk cId="1133781032" sldId="1675"/>
            <ac:spMk id="54" creationId="{4657394F-C44C-454C-85D6-0A7D03A92C30}"/>
          </ac:spMkLst>
        </pc:spChg>
        <pc:spChg chg="add mod">
          <ac:chgData name="Aurelien Domont" userId="6da7715ce44349b3" providerId="LiveId" clId="{C37E6FE4-15B9-445D-9A12-9B3805BC54CA}" dt="2021-05-27T02:02:47.982" v="2417" actId="6549"/>
          <ac:spMkLst>
            <pc:docMk/>
            <pc:sldMk cId="1133781032" sldId="1675"/>
            <ac:spMk id="55" creationId="{E2A50EAF-5B0D-479C-94D8-A7450BFFDD83}"/>
          </ac:spMkLst>
        </pc:spChg>
      </pc:sldChg>
      <pc:sldChg chg="add del">
        <pc:chgData name="Aurelien Domont" userId="6da7715ce44349b3" providerId="LiveId" clId="{C37E6FE4-15B9-445D-9A12-9B3805BC54CA}" dt="2021-05-26T05:50:28.137" v="1819" actId="47"/>
        <pc:sldMkLst>
          <pc:docMk/>
          <pc:sldMk cId="597933806" sldId="1925"/>
        </pc:sldMkLst>
      </pc:sldChg>
      <pc:sldChg chg="add del">
        <pc:chgData name="Aurelien Domont" userId="6da7715ce44349b3" providerId="LiveId" clId="{C37E6FE4-15B9-445D-9A12-9B3805BC54CA}" dt="2021-05-26T05:50:28.137" v="1819" actId="47"/>
        <pc:sldMkLst>
          <pc:docMk/>
          <pc:sldMk cId="317604876" sldId="1935"/>
        </pc:sldMkLst>
      </pc:sldChg>
      <pc:sldChg chg="add del">
        <pc:chgData name="Aurelien Domont" userId="6da7715ce44349b3" providerId="LiveId" clId="{C37E6FE4-15B9-445D-9A12-9B3805BC54CA}" dt="2021-05-26T05:50:28.137" v="1819" actId="47"/>
        <pc:sldMkLst>
          <pc:docMk/>
          <pc:sldMk cId="460632394" sldId="2035"/>
        </pc:sldMkLst>
      </pc:sldChg>
      <pc:sldChg chg="del">
        <pc:chgData name="Aurelien Domont" userId="6da7715ce44349b3" providerId="LiveId" clId="{C37E6FE4-15B9-445D-9A12-9B3805BC54CA}" dt="2021-05-26T06:07:01.618" v="1889" actId="47"/>
        <pc:sldMkLst>
          <pc:docMk/>
          <pc:sldMk cId="1289725493" sldId="2149"/>
        </pc:sldMkLst>
      </pc:sldChg>
      <pc:sldChg chg="add del">
        <pc:chgData name="Aurelien Domont" userId="6da7715ce44349b3" providerId="LiveId" clId="{C37E6FE4-15B9-445D-9A12-9B3805BC54CA}" dt="2021-05-26T05:50:28.137" v="1819" actId="47"/>
        <pc:sldMkLst>
          <pc:docMk/>
          <pc:sldMk cId="1834764109" sldId="2154"/>
        </pc:sldMkLst>
      </pc:sldChg>
      <pc:sldChg chg="add del">
        <pc:chgData name="Aurelien Domont" userId="6da7715ce44349b3" providerId="LiveId" clId="{C37E6FE4-15B9-445D-9A12-9B3805BC54CA}" dt="2021-05-26T05:50:28.137" v="1819" actId="47"/>
        <pc:sldMkLst>
          <pc:docMk/>
          <pc:sldMk cId="2346025138" sldId="2155"/>
        </pc:sldMkLst>
      </pc:sldChg>
      <pc:sldChg chg="add del">
        <pc:chgData name="Aurelien Domont" userId="6da7715ce44349b3" providerId="LiveId" clId="{C37E6FE4-15B9-445D-9A12-9B3805BC54CA}" dt="2021-05-26T05:31:28.774" v="882" actId="47"/>
        <pc:sldMkLst>
          <pc:docMk/>
          <pc:sldMk cId="1479295029" sldId="2156"/>
        </pc:sldMkLst>
      </pc:sldChg>
      <pc:sldChg chg="add del">
        <pc:chgData name="Aurelien Domont" userId="6da7715ce44349b3" providerId="LiveId" clId="{C37E6FE4-15B9-445D-9A12-9B3805BC54CA}" dt="2021-05-26T05:31:29.390" v="883" actId="47"/>
        <pc:sldMkLst>
          <pc:docMk/>
          <pc:sldMk cId="2678382071" sldId="2160"/>
        </pc:sldMkLst>
      </pc:sldChg>
      <pc:sldChg chg="add del">
        <pc:chgData name="Aurelien Domont" userId="6da7715ce44349b3" providerId="LiveId" clId="{C37E6FE4-15B9-445D-9A12-9B3805BC54CA}" dt="2021-05-26T05:50:28.137" v="1819" actId="47"/>
        <pc:sldMkLst>
          <pc:docMk/>
          <pc:sldMk cId="1648929139" sldId="2162"/>
        </pc:sldMkLst>
      </pc:sldChg>
      <pc:sldChg chg="add del">
        <pc:chgData name="Aurelien Domont" userId="6da7715ce44349b3" providerId="LiveId" clId="{C37E6FE4-15B9-445D-9A12-9B3805BC54CA}" dt="2021-05-26T05:50:28.137" v="1819" actId="47"/>
        <pc:sldMkLst>
          <pc:docMk/>
          <pc:sldMk cId="875289396" sldId="2163"/>
        </pc:sldMkLst>
      </pc:sldChg>
      <pc:sldChg chg="add del">
        <pc:chgData name="Aurelien Domont" userId="6da7715ce44349b3" providerId="LiveId" clId="{C37E6FE4-15B9-445D-9A12-9B3805BC54CA}" dt="2021-05-26T05:32:43.332" v="888" actId="47"/>
        <pc:sldMkLst>
          <pc:docMk/>
          <pc:sldMk cId="2342396241" sldId="2168"/>
        </pc:sldMkLst>
      </pc:sldChg>
      <pc:sldChg chg="add del">
        <pc:chgData name="Aurelien Domont" userId="6da7715ce44349b3" providerId="LiveId" clId="{C37E6FE4-15B9-445D-9A12-9B3805BC54CA}" dt="2021-05-26T05:32:43.332" v="888" actId="47"/>
        <pc:sldMkLst>
          <pc:docMk/>
          <pc:sldMk cId="2159222150" sldId="2169"/>
        </pc:sldMkLst>
      </pc:sldChg>
      <pc:sldChg chg="add del">
        <pc:chgData name="Aurelien Domont" userId="6da7715ce44349b3" providerId="LiveId" clId="{C37E6FE4-15B9-445D-9A12-9B3805BC54CA}" dt="2021-05-26T05:50:28.137" v="1819" actId="47"/>
        <pc:sldMkLst>
          <pc:docMk/>
          <pc:sldMk cId="1929697781" sldId="2171"/>
        </pc:sldMkLst>
      </pc:sldChg>
      <pc:sldChg chg="add del">
        <pc:chgData name="Aurelien Domont" userId="6da7715ce44349b3" providerId="LiveId" clId="{C37E6FE4-15B9-445D-9A12-9B3805BC54CA}" dt="2021-05-26T05:51:07.181" v="1826" actId="47"/>
        <pc:sldMkLst>
          <pc:docMk/>
          <pc:sldMk cId="1513791665" sldId="2172"/>
        </pc:sldMkLst>
      </pc:sldChg>
      <pc:sldChg chg="add del">
        <pc:chgData name="Aurelien Domont" userId="6da7715ce44349b3" providerId="LiveId" clId="{C37E6FE4-15B9-445D-9A12-9B3805BC54CA}" dt="2021-05-26T05:32:43.332" v="888" actId="47"/>
        <pc:sldMkLst>
          <pc:docMk/>
          <pc:sldMk cId="2826303449" sldId="2174"/>
        </pc:sldMkLst>
      </pc:sldChg>
      <pc:sldChg chg="add del">
        <pc:chgData name="Aurelien Domont" userId="6da7715ce44349b3" providerId="LiveId" clId="{C37E6FE4-15B9-445D-9A12-9B3805BC54CA}" dt="2021-05-26T05:50:28.137" v="1819" actId="47"/>
        <pc:sldMkLst>
          <pc:docMk/>
          <pc:sldMk cId="3324238393" sldId="2175"/>
        </pc:sldMkLst>
      </pc:sldChg>
      <pc:sldChg chg="addSp delSp modSp add del mod ord">
        <pc:chgData name="Aurelien Domont" userId="6da7715ce44349b3" providerId="LiveId" clId="{C37E6FE4-15B9-445D-9A12-9B3805BC54CA}" dt="2021-05-27T01:54:40.291" v="1985"/>
        <pc:sldMkLst>
          <pc:docMk/>
          <pc:sldMk cId="1141822668" sldId="2176"/>
        </pc:sldMkLst>
        <pc:spChg chg="del">
          <ac:chgData name="Aurelien Domont" userId="6da7715ce44349b3" providerId="LiveId" clId="{C37E6FE4-15B9-445D-9A12-9B3805BC54CA}" dt="2021-05-26T05:52:33.660" v="1873" actId="478"/>
          <ac:spMkLst>
            <pc:docMk/>
            <pc:sldMk cId="1141822668" sldId="2176"/>
            <ac:spMk id="10" creationId="{B55C10AF-D7B8-4125-9466-6A5D3903FBF2}"/>
          </ac:spMkLst>
        </pc:spChg>
        <pc:spChg chg="mod">
          <ac:chgData name="Aurelien Domont" userId="6da7715ce44349b3" providerId="LiveId" clId="{C37E6FE4-15B9-445D-9A12-9B3805BC54CA}" dt="2021-05-26T05:53:12.137" v="1875" actId="20577"/>
          <ac:spMkLst>
            <pc:docMk/>
            <pc:sldMk cId="1141822668" sldId="2176"/>
            <ac:spMk id="16" creationId="{6C2BB713-9637-4B9B-938F-E9768876782A}"/>
          </ac:spMkLst>
        </pc:spChg>
        <pc:graphicFrameChg chg="add mod">
          <ac:chgData name="Aurelien Domont" userId="6da7715ce44349b3" providerId="LiveId" clId="{C37E6FE4-15B9-445D-9A12-9B3805BC54CA}" dt="2021-05-27T01:54:40.291" v="1985"/>
          <ac:graphicFrameMkLst>
            <pc:docMk/>
            <pc:sldMk cId="1141822668" sldId="2176"/>
            <ac:graphicFrameMk id="8" creationId="{0A9867C7-FB3E-43B3-A9B5-4368C01177A4}"/>
          </ac:graphicFrameMkLst>
        </pc:graphicFrameChg>
        <pc:graphicFrameChg chg="del mod">
          <ac:chgData name="Aurelien Domont" userId="6da7715ce44349b3" providerId="LiveId" clId="{C37E6FE4-15B9-445D-9A12-9B3805BC54CA}" dt="2021-05-27T01:54:00.172" v="1980" actId="478"/>
          <ac:graphicFrameMkLst>
            <pc:docMk/>
            <pc:sldMk cId="1141822668" sldId="2176"/>
            <ac:graphicFrameMk id="9" creationId="{E444264D-B8C0-43F0-BB97-5D36633E04CD}"/>
          </ac:graphicFrameMkLst>
        </pc:graphicFrameChg>
      </pc:sldChg>
      <pc:sldChg chg="add del">
        <pc:chgData name="Aurelien Domont" userId="6da7715ce44349b3" providerId="LiveId" clId="{C37E6FE4-15B9-445D-9A12-9B3805BC54CA}" dt="2021-05-26T04:52:30.084" v="34" actId="47"/>
        <pc:sldMkLst>
          <pc:docMk/>
          <pc:sldMk cId="483759661" sldId="2178"/>
        </pc:sldMkLst>
      </pc:sldChg>
      <pc:sldChg chg="add del">
        <pc:chgData name="Aurelien Domont" userId="6da7715ce44349b3" providerId="LiveId" clId="{C37E6FE4-15B9-445D-9A12-9B3805BC54CA}" dt="2021-05-26T05:31:27.414" v="881" actId="47"/>
        <pc:sldMkLst>
          <pc:docMk/>
          <pc:sldMk cId="3746824585" sldId="2179"/>
        </pc:sldMkLst>
      </pc:sldChg>
      <pc:sldChg chg="add del">
        <pc:chgData name="Aurelien Domont" userId="6da7715ce44349b3" providerId="LiveId" clId="{C37E6FE4-15B9-445D-9A12-9B3805BC54CA}" dt="2021-05-26T05:31:29.943" v="884" actId="47"/>
        <pc:sldMkLst>
          <pc:docMk/>
          <pc:sldMk cId="3509969141" sldId="2180"/>
        </pc:sldMkLst>
      </pc:sldChg>
      <pc:sldChg chg="add del">
        <pc:chgData name="Aurelien Domont" userId="6da7715ce44349b3" providerId="LiveId" clId="{C37E6FE4-15B9-445D-9A12-9B3805BC54CA}" dt="2021-05-26T05:50:28.137" v="1819" actId="47"/>
        <pc:sldMkLst>
          <pc:docMk/>
          <pc:sldMk cId="4076367213" sldId="2181"/>
        </pc:sldMkLst>
      </pc:sldChg>
      <pc:sldChg chg="add del">
        <pc:chgData name="Aurelien Domont" userId="6da7715ce44349b3" providerId="LiveId" clId="{C37E6FE4-15B9-445D-9A12-9B3805BC54CA}" dt="2021-05-26T05:50:28.137" v="1819" actId="47"/>
        <pc:sldMkLst>
          <pc:docMk/>
          <pc:sldMk cId="3157585659" sldId="2182"/>
        </pc:sldMkLst>
      </pc:sldChg>
      <pc:sldChg chg="modSp mod">
        <pc:chgData name="Aurelien Domont" userId="6da7715ce44349b3" providerId="LiveId" clId="{C37E6FE4-15B9-445D-9A12-9B3805BC54CA}" dt="2021-05-27T01:51:23.604" v="1921"/>
        <pc:sldMkLst>
          <pc:docMk/>
          <pc:sldMk cId="1110778063" sldId="2183"/>
        </pc:sldMkLst>
        <pc:spChg chg="mod">
          <ac:chgData name="Aurelien Domont" userId="6da7715ce44349b3" providerId="LiveId" clId="{C37E6FE4-15B9-445D-9A12-9B3805BC54CA}" dt="2021-05-26T04:51:10.598" v="10" actId="108"/>
          <ac:spMkLst>
            <pc:docMk/>
            <pc:sldMk cId="1110778063" sldId="2183"/>
            <ac:spMk id="14" creationId="{36A26ACC-668A-45EB-AB81-A5D2319F44E0}"/>
          </ac:spMkLst>
        </pc:spChg>
        <pc:spChg chg="mod">
          <ac:chgData name="Aurelien Domont" userId="6da7715ce44349b3" providerId="LiveId" clId="{C37E6FE4-15B9-445D-9A12-9B3805BC54CA}" dt="2021-05-26T04:51:04.046" v="8" actId="20577"/>
          <ac:spMkLst>
            <pc:docMk/>
            <pc:sldMk cId="1110778063" sldId="2183"/>
            <ac:spMk id="16" creationId="{6C2BB713-9637-4B9B-938F-E9768876782A}"/>
          </ac:spMkLst>
        </pc:spChg>
        <pc:spChg chg="mod">
          <ac:chgData name="Aurelien Domont" userId="6da7715ce44349b3" providerId="LiveId" clId="{C37E6FE4-15B9-445D-9A12-9B3805BC54CA}" dt="2021-05-26T04:51:07.928" v="9" actId="108"/>
          <ac:spMkLst>
            <pc:docMk/>
            <pc:sldMk cId="1110778063" sldId="2183"/>
            <ac:spMk id="18" creationId="{9A832821-28E7-48AC-A8A2-089BEA8CDC39}"/>
          </ac:spMkLst>
        </pc:spChg>
        <pc:spChg chg="mod">
          <ac:chgData name="Aurelien Domont" userId="6da7715ce44349b3" providerId="LiveId" clId="{C37E6FE4-15B9-445D-9A12-9B3805BC54CA}" dt="2021-05-26T06:39:15.567" v="1915"/>
          <ac:spMkLst>
            <pc:docMk/>
            <pc:sldMk cId="1110778063" sldId="2183"/>
            <ac:spMk id="27" creationId="{BE7FA4F0-3C49-4DE0-BDCC-49225B7F31CF}"/>
          </ac:spMkLst>
        </pc:spChg>
        <pc:spChg chg="mod">
          <ac:chgData name="Aurelien Domont" userId="6da7715ce44349b3" providerId="LiveId" clId="{C37E6FE4-15B9-445D-9A12-9B3805BC54CA}" dt="2021-05-27T01:51:23.604" v="1921"/>
          <ac:spMkLst>
            <pc:docMk/>
            <pc:sldMk cId="1110778063" sldId="2183"/>
            <ac:spMk id="29" creationId="{EBEF7E50-77EE-4FFC-9C8F-5F1C532B51AE}"/>
          </ac:spMkLst>
        </pc:spChg>
      </pc:sldChg>
      <pc:sldChg chg="modSp mod">
        <pc:chgData name="Aurelien Domont" userId="6da7715ce44349b3" providerId="LiveId" clId="{C37E6FE4-15B9-445D-9A12-9B3805BC54CA}" dt="2021-05-26T06:09:29.896" v="1912" actId="20577"/>
        <pc:sldMkLst>
          <pc:docMk/>
          <pc:sldMk cId="4292960502" sldId="2184"/>
        </pc:sldMkLst>
        <pc:spChg chg="mod">
          <ac:chgData name="Aurelien Domont" userId="6da7715ce44349b3" providerId="LiveId" clId="{C37E6FE4-15B9-445D-9A12-9B3805BC54CA}" dt="2021-05-26T06:09:29.896" v="1912" actId="20577"/>
          <ac:spMkLst>
            <pc:docMk/>
            <pc:sldMk cId="4292960502" sldId="2184"/>
            <ac:spMk id="3" creationId="{6BE1B6B4-87AF-4A0F-9A81-38B388B86D24}"/>
          </ac:spMkLst>
        </pc:spChg>
      </pc:sldChg>
      <pc:sldChg chg="addSp delSp modSp add del mod ord">
        <pc:chgData name="Aurelien Domont" userId="6da7715ce44349b3" providerId="LiveId" clId="{C37E6FE4-15B9-445D-9A12-9B3805BC54CA}" dt="2021-05-27T01:54:19.532" v="1983" actId="47"/>
        <pc:sldMkLst>
          <pc:docMk/>
          <pc:sldMk cId="542636106" sldId="2185"/>
        </pc:sldMkLst>
        <pc:spChg chg="del">
          <ac:chgData name="Aurelien Domont" userId="6da7715ce44349b3" providerId="LiveId" clId="{C37E6FE4-15B9-445D-9A12-9B3805BC54CA}" dt="2021-05-26T05:51:45.099" v="1835" actId="478"/>
          <ac:spMkLst>
            <pc:docMk/>
            <pc:sldMk cId="542636106" sldId="2185"/>
            <ac:spMk id="8" creationId="{ECDEB1A2-CCBA-4981-8EBC-1B825B01B41E}"/>
          </ac:spMkLst>
        </pc:spChg>
        <pc:spChg chg="mod">
          <ac:chgData name="Aurelien Domont" userId="6da7715ce44349b3" providerId="LiveId" clId="{C37E6FE4-15B9-445D-9A12-9B3805BC54CA}" dt="2021-05-26T05:51:14.866" v="1831" actId="27636"/>
          <ac:spMkLst>
            <pc:docMk/>
            <pc:sldMk cId="542636106" sldId="2185"/>
            <ac:spMk id="16" creationId="{6C2BB713-9637-4B9B-938F-E9768876782A}"/>
          </ac:spMkLst>
        </pc:spChg>
        <pc:graphicFrameChg chg="del mod modGraphic">
          <ac:chgData name="Aurelien Domont" userId="6da7715ce44349b3" providerId="LiveId" clId="{C37E6FE4-15B9-445D-9A12-9B3805BC54CA}" dt="2021-05-27T01:53:52.064" v="1978" actId="478"/>
          <ac:graphicFrameMkLst>
            <pc:docMk/>
            <pc:sldMk cId="542636106" sldId="2185"/>
            <ac:graphicFrameMk id="5" creationId="{EC9A5040-7A95-43F9-B671-0F0285DEB5DD}"/>
          </ac:graphicFrameMkLst>
        </pc:graphicFrameChg>
        <pc:graphicFrameChg chg="add mod">
          <ac:chgData name="Aurelien Domont" userId="6da7715ce44349b3" providerId="LiveId" clId="{C37E6FE4-15B9-445D-9A12-9B3805BC54CA}" dt="2021-05-27T01:54:12.935" v="1981"/>
          <ac:graphicFrameMkLst>
            <pc:docMk/>
            <pc:sldMk cId="542636106" sldId="2185"/>
            <ac:graphicFrameMk id="8" creationId="{9FD5E0DB-CA32-44CD-805A-D7AC41246276}"/>
          </ac:graphicFrameMkLst>
        </pc:graphicFrameChg>
      </pc:sldChg>
      <pc:sldChg chg="add del">
        <pc:chgData name="Aurelien Domont" userId="6da7715ce44349b3" providerId="LiveId" clId="{C37E6FE4-15B9-445D-9A12-9B3805BC54CA}" dt="2021-05-26T05:52:37.503" v="1874" actId="47"/>
        <pc:sldMkLst>
          <pc:docMk/>
          <pc:sldMk cId="264443487" sldId="2186"/>
        </pc:sldMkLst>
      </pc:sldChg>
      <pc:sldChg chg="addSp modSp add mod">
        <pc:chgData name="Aurelien Domont" userId="6da7715ce44349b3" providerId="LiveId" clId="{C37E6FE4-15B9-445D-9A12-9B3805BC54CA}" dt="2021-05-27T01:51:28.636" v="1922"/>
        <pc:sldMkLst>
          <pc:docMk/>
          <pc:sldMk cId="1883424115" sldId="2187"/>
        </pc:sldMkLst>
        <pc:spChg chg="add mod ord">
          <ac:chgData name="Aurelien Domont" userId="6da7715ce44349b3" providerId="LiveId" clId="{C37E6FE4-15B9-445D-9A12-9B3805BC54CA}" dt="2021-05-26T04:52:27.336" v="33" actId="167"/>
          <ac:spMkLst>
            <pc:docMk/>
            <pc:sldMk cId="1883424115" sldId="2187"/>
            <ac:spMk id="15" creationId="{7F7B73D2-A592-459F-AABD-FF843772DAB3}"/>
          </ac:spMkLst>
        </pc:spChg>
        <pc:spChg chg="mod">
          <ac:chgData name="Aurelien Domont" userId="6da7715ce44349b3" providerId="LiveId" clId="{C37E6FE4-15B9-445D-9A12-9B3805BC54CA}" dt="2021-05-26T04:51:40.327" v="20" actId="20577"/>
          <ac:spMkLst>
            <pc:docMk/>
            <pc:sldMk cId="1883424115" sldId="2187"/>
            <ac:spMk id="16" creationId="{6C2BB713-9637-4B9B-938F-E9768876782A}"/>
          </ac:spMkLst>
        </pc:spChg>
        <pc:spChg chg="mod">
          <ac:chgData name="Aurelien Domont" userId="6da7715ce44349b3" providerId="LiveId" clId="{C37E6FE4-15B9-445D-9A12-9B3805BC54CA}" dt="2021-05-26T06:39:15.567" v="1915"/>
          <ac:spMkLst>
            <pc:docMk/>
            <pc:sldMk cId="1883424115" sldId="2187"/>
            <ac:spMk id="27" creationId="{BE7FA4F0-3C49-4DE0-BDCC-49225B7F31CF}"/>
          </ac:spMkLst>
        </pc:spChg>
        <pc:spChg chg="mod">
          <ac:chgData name="Aurelien Domont" userId="6da7715ce44349b3" providerId="LiveId" clId="{C37E6FE4-15B9-445D-9A12-9B3805BC54CA}" dt="2021-05-27T01:51:28.636" v="1922"/>
          <ac:spMkLst>
            <pc:docMk/>
            <pc:sldMk cId="1883424115" sldId="2187"/>
            <ac:spMk id="29" creationId="{EBEF7E50-77EE-4FFC-9C8F-5F1C532B51AE}"/>
          </ac:spMkLst>
        </pc:spChg>
      </pc:sldChg>
      <pc:sldChg chg="addSp modSp new del mod">
        <pc:chgData name="Aurelien Domont" userId="6da7715ce44349b3" providerId="LiveId" clId="{C37E6FE4-15B9-445D-9A12-9B3805BC54CA}" dt="2021-05-26T05:52:37.503" v="1874" actId="47"/>
        <pc:sldMkLst>
          <pc:docMk/>
          <pc:sldMk cId="1429794406" sldId="2188"/>
        </pc:sldMkLst>
        <pc:spChg chg="add mod">
          <ac:chgData name="Aurelien Domont" userId="6da7715ce44349b3" providerId="LiveId" clId="{C37E6FE4-15B9-445D-9A12-9B3805BC54CA}" dt="2021-05-26T04:52:55.304" v="39" actId="207"/>
          <ac:spMkLst>
            <pc:docMk/>
            <pc:sldMk cId="1429794406" sldId="2188"/>
            <ac:spMk id="3" creationId="{71AD87AC-8CB6-4809-AC99-6A313FD122B8}"/>
          </ac:spMkLst>
        </pc:spChg>
      </pc:sldChg>
      <pc:sldChg chg="modSp add mod">
        <pc:chgData name="Aurelien Domont" userId="6da7715ce44349b3" providerId="LiveId" clId="{C37E6FE4-15B9-445D-9A12-9B3805BC54CA}" dt="2021-05-27T01:51:36.038" v="1923"/>
        <pc:sldMkLst>
          <pc:docMk/>
          <pc:sldMk cId="4044835620" sldId="2189"/>
        </pc:sldMkLst>
        <pc:spChg chg="mod">
          <ac:chgData name="Aurelien Domont" userId="6da7715ce44349b3" providerId="LiveId" clId="{C37E6FE4-15B9-445D-9A12-9B3805BC54CA}" dt="2021-05-26T04:54:19.230" v="66" actId="1036"/>
          <ac:spMkLst>
            <pc:docMk/>
            <pc:sldMk cId="4044835620" sldId="2189"/>
            <ac:spMk id="15" creationId="{7F7B73D2-A592-459F-AABD-FF843772DAB3}"/>
          </ac:spMkLst>
        </pc:spChg>
        <pc:spChg chg="mod">
          <ac:chgData name="Aurelien Domont" userId="6da7715ce44349b3" providerId="LiveId" clId="{C37E6FE4-15B9-445D-9A12-9B3805BC54CA}" dt="2021-05-26T04:54:54.848" v="80" actId="20577"/>
          <ac:spMkLst>
            <pc:docMk/>
            <pc:sldMk cId="4044835620" sldId="2189"/>
            <ac:spMk id="16" creationId="{6C2BB713-9637-4B9B-938F-E9768876782A}"/>
          </ac:spMkLst>
        </pc:spChg>
        <pc:spChg chg="mod">
          <ac:chgData name="Aurelien Domont" userId="6da7715ce44349b3" providerId="LiveId" clId="{C37E6FE4-15B9-445D-9A12-9B3805BC54CA}" dt="2021-05-26T06:39:15.567" v="1915"/>
          <ac:spMkLst>
            <pc:docMk/>
            <pc:sldMk cId="4044835620" sldId="2189"/>
            <ac:spMk id="27" creationId="{BE7FA4F0-3C49-4DE0-BDCC-49225B7F31CF}"/>
          </ac:spMkLst>
        </pc:spChg>
        <pc:spChg chg="mod">
          <ac:chgData name="Aurelien Domont" userId="6da7715ce44349b3" providerId="LiveId" clId="{C37E6FE4-15B9-445D-9A12-9B3805BC54CA}" dt="2021-05-27T01:51:36.038" v="1923"/>
          <ac:spMkLst>
            <pc:docMk/>
            <pc:sldMk cId="4044835620" sldId="2189"/>
            <ac:spMk id="29" creationId="{EBEF7E50-77EE-4FFC-9C8F-5F1C532B51AE}"/>
          </ac:spMkLst>
        </pc:spChg>
      </pc:sldChg>
      <pc:sldChg chg="modSp add mod">
        <pc:chgData name="Aurelien Domont" userId="6da7715ce44349b3" providerId="LiveId" clId="{C37E6FE4-15B9-445D-9A12-9B3805BC54CA}" dt="2021-05-27T01:51:40.044" v="1924"/>
        <pc:sldMkLst>
          <pc:docMk/>
          <pc:sldMk cId="4192609216" sldId="2190"/>
        </pc:sldMkLst>
        <pc:spChg chg="mod">
          <ac:chgData name="Aurelien Domont" userId="6da7715ce44349b3" providerId="LiveId" clId="{C37E6FE4-15B9-445D-9A12-9B3805BC54CA}" dt="2021-05-26T05:08:27.199" v="401" actId="14100"/>
          <ac:spMkLst>
            <pc:docMk/>
            <pc:sldMk cId="4192609216" sldId="2190"/>
            <ac:spMk id="15" creationId="{7F7B73D2-A592-459F-AABD-FF843772DAB3}"/>
          </ac:spMkLst>
        </pc:spChg>
        <pc:spChg chg="mod">
          <ac:chgData name="Aurelien Domont" userId="6da7715ce44349b3" providerId="LiveId" clId="{C37E6FE4-15B9-445D-9A12-9B3805BC54CA}" dt="2021-05-26T04:55:04.622" v="84" actId="20577"/>
          <ac:spMkLst>
            <pc:docMk/>
            <pc:sldMk cId="4192609216" sldId="2190"/>
            <ac:spMk id="16" creationId="{6C2BB713-9637-4B9B-938F-E9768876782A}"/>
          </ac:spMkLst>
        </pc:spChg>
        <pc:spChg chg="mod">
          <ac:chgData name="Aurelien Domont" userId="6da7715ce44349b3" providerId="LiveId" clId="{C37E6FE4-15B9-445D-9A12-9B3805BC54CA}" dt="2021-05-26T06:39:15.567" v="1915"/>
          <ac:spMkLst>
            <pc:docMk/>
            <pc:sldMk cId="4192609216" sldId="2190"/>
            <ac:spMk id="27" creationId="{BE7FA4F0-3C49-4DE0-BDCC-49225B7F31CF}"/>
          </ac:spMkLst>
        </pc:spChg>
        <pc:spChg chg="mod">
          <ac:chgData name="Aurelien Domont" userId="6da7715ce44349b3" providerId="LiveId" clId="{C37E6FE4-15B9-445D-9A12-9B3805BC54CA}" dt="2021-05-27T01:51:40.044" v="1924"/>
          <ac:spMkLst>
            <pc:docMk/>
            <pc:sldMk cId="4192609216" sldId="2190"/>
            <ac:spMk id="29" creationId="{EBEF7E50-77EE-4FFC-9C8F-5F1C532B51AE}"/>
          </ac:spMkLst>
        </pc:spChg>
      </pc:sldChg>
      <pc:sldChg chg="addSp delSp modSp add mod ord">
        <pc:chgData name="Aurelien Domont" userId="6da7715ce44349b3" providerId="LiveId" clId="{C37E6FE4-15B9-445D-9A12-9B3805BC54CA}" dt="2021-05-26T06:03:35.220" v="1886" actId="1076"/>
        <pc:sldMkLst>
          <pc:docMk/>
          <pc:sldMk cId="252561860" sldId="2191"/>
        </pc:sldMkLst>
        <pc:spChg chg="add mod">
          <ac:chgData name="Aurelien Domont" userId="6da7715ce44349b3" providerId="LiveId" clId="{C37E6FE4-15B9-445D-9A12-9B3805BC54CA}" dt="2021-05-26T06:03:35.220" v="1886" actId="1076"/>
          <ac:spMkLst>
            <pc:docMk/>
            <pc:sldMk cId="252561860" sldId="2191"/>
            <ac:spMk id="14" creationId="{B5E93639-B5F1-4815-A5B0-724619FCE8D8}"/>
          </ac:spMkLst>
        </pc:spChg>
        <pc:spChg chg="mod">
          <ac:chgData name="Aurelien Domont" userId="6da7715ce44349b3" providerId="LiveId" clId="{C37E6FE4-15B9-445D-9A12-9B3805BC54CA}" dt="2021-05-26T04:59:19.324" v="208" actId="20577"/>
          <ac:spMkLst>
            <pc:docMk/>
            <pc:sldMk cId="252561860" sldId="2191"/>
            <ac:spMk id="16" creationId="{6C2BB713-9637-4B9B-938F-E9768876782A}"/>
          </ac:spMkLst>
        </pc:spChg>
        <pc:spChg chg="del">
          <ac:chgData name="Aurelien Domont" userId="6da7715ce44349b3" providerId="LiveId" clId="{C37E6FE4-15B9-445D-9A12-9B3805BC54CA}" dt="2021-05-26T04:59:29.622" v="209" actId="478"/>
          <ac:spMkLst>
            <pc:docMk/>
            <pc:sldMk cId="252561860" sldId="2191"/>
            <ac:spMk id="17" creationId="{2D67886B-EE66-408F-B12C-0E9272F68B81}"/>
          </ac:spMkLst>
        </pc:spChg>
        <pc:spChg chg="del mod">
          <ac:chgData name="Aurelien Domont" userId="6da7715ce44349b3" providerId="LiveId" clId="{C37E6FE4-15B9-445D-9A12-9B3805BC54CA}" dt="2021-05-26T05:05:55.696" v="338" actId="478"/>
          <ac:spMkLst>
            <pc:docMk/>
            <pc:sldMk cId="252561860" sldId="2191"/>
            <ac:spMk id="18" creationId="{60954C97-03A1-4F8F-82B0-8544FD27A1F8}"/>
          </ac:spMkLst>
        </pc:spChg>
        <pc:spChg chg="add mod">
          <ac:chgData name="Aurelien Domont" userId="6da7715ce44349b3" providerId="LiveId" clId="{C37E6FE4-15B9-445D-9A12-9B3805BC54CA}" dt="2021-05-26T05:05:53.675" v="337" actId="1036"/>
          <ac:spMkLst>
            <pc:docMk/>
            <pc:sldMk cId="252561860" sldId="2191"/>
            <ac:spMk id="19" creationId="{D3085E64-A49E-4AA5-9FB7-6BD6CC0BCC57}"/>
          </ac:spMkLst>
        </pc:spChg>
        <pc:spChg chg="del">
          <ac:chgData name="Aurelien Domont" userId="6da7715ce44349b3" providerId="LiveId" clId="{C37E6FE4-15B9-445D-9A12-9B3805BC54CA}" dt="2021-05-26T04:59:29.622" v="209" actId="478"/>
          <ac:spMkLst>
            <pc:docMk/>
            <pc:sldMk cId="252561860" sldId="2191"/>
            <ac:spMk id="22" creationId="{8E01C535-83E0-4037-A5E0-B048CA9F5839}"/>
          </ac:spMkLst>
        </pc:spChg>
        <pc:spChg chg="del">
          <ac:chgData name="Aurelien Domont" userId="6da7715ce44349b3" providerId="LiveId" clId="{C37E6FE4-15B9-445D-9A12-9B3805BC54CA}" dt="2021-05-26T04:59:29.622" v="209" actId="478"/>
          <ac:spMkLst>
            <pc:docMk/>
            <pc:sldMk cId="252561860" sldId="2191"/>
            <ac:spMk id="23" creationId="{4D5D024D-039F-4F29-88DA-E3E10AADB75F}"/>
          </ac:spMkLst>
        </pc:spChg>
        <pc:spChg chg="del">
          <ac:chgData name="Aurelien Domont" userId="6da7715ce44349b3" providerId="LiveId" clId="{C37E6FE4-15B9-445D-9A12-9B3805BC54CA}" dt="2021-05-26T04:59:29.622" v="209" actId="478"/>
          <ac:spMkLst>
            <pc:docMk/>
            <pc:sldMk cId="252561860" sldId="2191"/>
            <ac:spMk id="24" creationId="{8A395014-5D91-404D-AC40-583B7E33212D}"/>
          </ac:spMkLst>
        </pc:spChg>
        <pc:spChg chg="del">
          <ac:chgData name="Aurelien Domont" userId="6da7715ce44349b3" providerId="LiveId" clId="{C37E6FE4-15B9-445D-9A12-9B3805BC54CA}" dt="2021-05-26T04:59:29.622" v="209" actId="478"/>
          <ac:spMkLst>
            <pc:docMk/>
            <pc:sldMk cId="252561860" sldId="2191"/>
            <ac:spMk id="30" creationId="{0C4DDDBF-6224-4C18-9535-80D724B5A005}"/>
          </ac:spMkLst>
        </pc:spChg>
        <pc:spChg chg="del">
          <ac:chgData name="Aurelien Domont" userId="6da7715ce44349b3" providerId="LiveId" clId="{C37E6FE4-15B9-445D-9A12-9B3805BC54CA}" dt="2021-05-26T04:59:29.622" v="209" actId="478"/>
          <ac:spMkLst>
            <pc:docMk/>
            <pc:sldMk cId="252561860" sldId="2191"/>
            <ac:spMk id="31" creationId="{36C80EE7-A952-4C06-AEBC-36E279DA82B4}"/>
          </ac:spMkLst>
        </pc:spChg>
        <pc:spChg chg="del">
          <ac:chgData name="Aurelien Domont" userId="6da7715ce44349b3" providerId="LiveId" clId="{C37E6FE4-15B9-445D-9A12-9B3805BC54CA}" dt="2021-05-26T04:59:29.622" v="209" actId="478"/>
          <ac:spMkLst>
            <pc:docMk/>
            <pc:sldMk cId="252561860" sldId="2191"/>
            <ac:spMk id="32" creationId="{704C159A-FC4B-49F3-8352-D1D4BA4034E5}"/>
          </ac:spMkLst>
        </pc:spChg>
        <pc:spChg chg="del">
          <ac:chgData name="Aurelien Domont" userId="6da7715ce44349b3" providerId="LiveId" clId="{C37E6FE4-15B9-445D-9A12-9B3805BC54CA}" dt="2021-05-26T04:59:34.253" v="210" actId="478"/>
          <ac:spMkLst>
            <pc:docMk/>
            <pc:sldMk cId="252561860" sldId="2191"/>
            <ac:spMk id="33" creationId="{AA35D460-C892-4B10-9EC0-CBB254784F0F}"/>
          </ac:spMkLst>
        </pc:spChg>
        <pc:spChg chg="del">
          <ac:chgData name="Aurelien Domont" userId="6da7715ce44349b3" providerId="LiveId" clId="{C37E6FE4-15B9-445D-9A12-9B3805BC54CA}" dt="2021-05-26T04:59:29.622" v="209" actId="478"/>
          <ac:spMkLst>
            <pc:docMk/>
            <pc:sldMk cId="252561860" sldId="2191"/>
            <ac:spMk id="34" creationId="{A9CD1C23-B252-4F5C-B241-662F7FC0E014}"/>
          </ac:spMkLst>
        </pc:spChg>
        <pc:spChg chg="del">
          <ac:chgData name="Aurelien Domont" userId="6da7715ce44349b3" providerId="LiveId" clId="{C37E6FE4-15B9-445D-9A12-9B3805BC54CA}" dt="2021-05-26T04:59:29.622" v="209" actId="478"/>
          <ac:spMkLst>
            <pc:docMk/>
            <pc:sldMk cId="252561860" sldId="2191"/>
            <ac:spMk id="35" creationId="{1840DC24-6AD9-4A79-9CFD-8E3CECC35C55}"/>
          </ac:spMkLst>
        </pc:spChg>
        <pc:spChg chg="del">
          <ac:chgData name="Aurelien Domont" userId="6da7715ce44349b3" providerId="LiveId" clId="{C37E6FE4-15B9-445D-9A12-9B3805BC54CA}" dt="2021-05-26T04:59:29.622" v="209" actId="478"/>
          <ac:spMkLst>
            <pc:docMk/>
            <pc:sldMk cId="252561860" sldId="2191"/>
            <ac:spMk id="36" creationId="{80E41528-6D0D-49D0-B90D-0FBB3C43E966}"/>
          </ac:spMkLst>
        </pc:spChg>
        <pc:spChg chg="del">
          <ac:chgData name="Aurelien Domont" userId="6da7715ce44349b3" providerId="LiveId" clId="{C37E6FE4-15B9-445D-9A12-9B3805BC54CA}" dt="2021-05-26T04:59:29.622" v="209" actId="478"/>
          <ac:spMkLst>
            <pc:docMk/>
            <pc:sldMk cId="252561860" sldId="2191"/>
            <ac:spMk id="37" creationId="{6F8476AC-84C9-4CCE-A24B-70A1AC14E37C}"/>
          </ac:spMkLst>
        </pc:spChg>
        <pc:spChg chg="del">
          <ac:chgData name="Aurelien Domont" userId="6da7715ce44349b3" providerId="LiveId" clId="{C37E6FE4-15B9-445D-9A12-9B3805BC54CA}" dt="2021-05-26T04:59:34.253" v="210" actId="478"/>
          <ac:spMkLst>
            <pc:docMk/>
            <pc:sldMk cId="252561860" sldId="2191"/>
            <ac:spMk id="38" creationId="{ADBAC328-B66A-48C6-A762-CEADDF413E82}"/>
          </ac:spMkLst>
        </pc:spChg>
        <pc:spChg chg="add mod">
          <ac:chgData name="Aurelien Domont" userId="6da7715ce44349b3" providerId="LiveId" clId="{C37E6FE4-15B9-445D-9A12-9B3805BC54CA}" dt="2021-05-26T05:34:00.693" v="903" actId="20577"/>
          <ac:spMkLst>
            <pc:docMk/>
            <pc:sldMk cId="252561860" sldId="2191"/>
            <ac:spMk id="39" creationId="{0E0B70C6-5AF7-455A-A384-416383514AD8}"/>
          </ac:spMkLst>
        </pc:spChg>
        <pc:spChg chg="add mod">
          <ac:chgData name="Aurelien Domont" userId="6da7715ce44349b3" providerId="LiveId" clId="{C37E6FE4-15B9-445D-9A12-9B3805BC54CA}" dt="2021-05-26T05:34:01.626" v="904" actId="20577"/>
          <ac:spMkLst>
            <pc:docMk/>
            <pc:sldMk cId="252561860" sldId="2191"/>
            <ac:spMk id="41" creationId="{096C5C5F-D174-4BC9-82B9-0BC01998CD1A}"/>
          </ac:spMkLst>
        </pc:spChg>
        <pc:spChg chg="del">
          <ac:chgData name="Aurelien Domont" userId="6da7715ce44349b3" providerId="LiveId" clId="{C37E6FE4-15B9-445D-9A12-9B3805BC54CA}" dt="2021-05-26T04:59:29.622" v="209" actId="478"/>
          <ac:spMkLst>
            <pc:docMk/>
            <pc:sldMk cId="252561860" sldId="2191"/>
            <ac:spMk id="43" creationId="{CDAC9E33-CD3F-46AE-9A3B-1D828686C6DB}"/>
          </ac:spMkLst>
        </pc:spChg>
        <pc:spChg chg="del">
          <ac:chgData name="Aurelien Domont" userId="6da7715ce44349b3" providerId="LiveId" clId="{C37E6FE4-15B9-445D-9A12-9B3805BC54CA}" dt="2021-05-26T04:59:29.622" v="209" actId="478"/>
          <ac:spMkLst>
            <pc:docMk/>
            <pc:sldMk cId="252561860" sldId="2191"/>
            <ac:spMk id="44" creationId="{58FFB25E-48BE-49EC-AB5F-4B39FDBC21EA}"/>
          </ac:spMkLst>
        </pc:spChg>
        <pc:spChg chg="add mod">
          <ac:chgData name="Aurelien Domont" userId="6da7715ce44349b3" providerId="LiveId" clId="{C37E6FE4-15B9-445D-9A12-9B3805BC54CA}" dt="2021-05-26T05:05:53.675" v="337" actId="1036"/>
          <ac:spMkLst>
            <pc:docMk/>
            <pc:sldMk cId="252561860" sldId="2191"/>
            <ac:spMk id="46" creationId="{EB357721-E879-406E-B6C9-A00B77C40A14}"/>
          </ac:spMkLst>
        </pc:spChg>
        <pc:picChg chg="add mod">
          <ac:chgData name="Aurelien Domont" userId="6da7715ce44349b3" providerId="LiveId" clId="{C37E6FE4-15B9-445D-9A12-9B3805BC54CA}" dt="2021-05-26T05:05:15.113" v="317" actId="1076"/>
          <ac:picMkLst>
            <pc:docMk/>
            <pc:sldMk cId="252561860" sldId="2191"/>
            <ac:picMk id="4" creationId="{9E3215DB-FE8C-4F07-9CBD-3D44D722D0D3}"/>
          </ac:picMkLst>
        </pc:picChg>
        <pc:picChg chg="add mod">
          <ac:chgData name="Aurelien Domont" userId="6da7715ce44349b3" providerId="LiveId" clId="{C37E6FE4-15B9-445D-9A12-9B3805BC54CA}" dt="2021-05-26T05:05:29.975" v="321" actId="1076"/>
          <ac:picMkLst>
            <pc:docMk/>
            <pc:sldMk cId="252561860" sldId="2191"/>
            <ac:picMk id="6" creationId="{137244FF-4023-459B-BD6D-822DA0130AB3}"/>
          </ac:picMkLst>
        </pc:picChg>
        <pc:picChg chg="add mod">
          <ac:chgData name="Aurelien Domont" userId="6da7715ce44349b3" providerId="LiveId" clId="{C37E6FE4-15B9-445D-9A12-9B3805BC54CA}" dt="2021-05-26T05:05:45.060" v="325" actId="1076"/>
          <ac:picMkLst>
            <pc:docMk/>
            <pc:sldMk cId="252561860" sldId="2191"/>
            <ac:picMk id="8" creationId="{1A1AE8A9-F556-434F-80D3-136B724E8D9C}"/>
          </ac:picMkLst>
        </pc:picChg>
        <pc:picChg chg="add del mod">
          <ac:chgData name="Aurelien Domont" userId="6da7715ce44349b3" providerId="LiveId" clId="{C37E6FE4-15B9-445D-9A12-9B3805BC54CA}" dt="2021-05-26T05:04:57.726" v="312" actId="478"/>
          <ac:picMkLst>
            <pc:docMk/>
            <pc:sldMk cId="252561860" sldId="2191"/>
            <ac:picMk id="10" creationId="{9B780F67-4CCA-447B-882C-044BD033562A}"/>
          </ac:picMkLst>
        </pc:picChg>
        <pc:picChg chg="add del mod">
          <ac:chgData name="Aurelien Domont" userId="6da7715ce44349b3" providerId="LiveId" clId="{C37E6FE4-15B9-445D-9A12-9B3805BC54CA}" dt="2021-05-26T05:04:57.726" v="312" actId="478"/>
          <ac:picMkLst>
            <pc:docMk/>
            <pc:sldMk cId="252561860" sldId="2191"/>
            <ac:picMk id="12" creationId="{259E3E66-3DE8-43A8-A166-CCA9470427F0}"/>
          </ac:picMkLst>
        </pc:picChg>
        <pc:picChg chg="add mod">
          <ac:chgData name="Aurelien Domont" userId="6da7715ce44349b3" providerId="LiveId" clId="{C37E6FE4-15B9-445D-9A12-9B3805BC54CA}" dt="2021-05-26T05:05:11.167" v="315" actId="1076"/>
          <ac:picMkLst>
            <pc:docMk/>
            <pc:sldMk cId="252561860" sldId="2191"/>
            <ac:picMk id="15" creationId="{C7EF3C36-0F1D-4A9A-9539-0653C9A6EB35}"/>
          </ac:picMkLst>
        </pc:picChg>
        <pc:picChg chg="add del mod">
          <ac:chgData name="Aurelien Domont" userId="6da7715ce44349b3" providerId="LiveId" clId="{C37E6FE4-15B9-445D-9A12-9B3805BC54CA}" dt="2021-05-26T05:04:19.831" v="269" actId="478"/>
          <ac:picMkLst>
            <pc:docMk/>
            <pc:sldMk cId="252561860" sldId="2191"/>
            <ac:picMk id="40" creationId="{19957E5C-C3F9-4C46-A425-D776F7FAAA3F}"/>
          </ac:picMkLst>
        </pc:picChg>
        <pc:picChg chg="add del mod">
          <ac:chgData name="Aurelien Domont" userId="6da7715ce44349b3" providerId="LiveId" clId="{C37E6FE4-15B9-445D-9A12-9B3805BC54CA}" dt="2021-05-26T05:04:53.487" v="310" actId="478"/>
          <ac:picMkLst>
            <pc:docMk/>
            <pc:sldMk cId="252561860" sldId="2191"/>
            <ac:picMk id="42" creationId="{FC311582-3C4C-4E6A-AB47-04233C4E1D73}"/>
          </ac:picMkLst>
        </pc:picChg>
        <pc:picChg chg="add del mod">
          <ac:chgData name="Aurelien Domont" userId="6da7715ce44349b3" providerId="LiveId" clId="{C37E6FE4-15B9-445D-9A12-9B3805BC54CA}" dt="2021-05-26T05:04:57.726" v="312" actId="478"/>
          <ac:picMkLst>
            <pc:docMk/>
            <pc:sldMk cId="252561860" sldId="2191"/>
            <ac:picMk id="45" creationId="{B38067FC-548B-4607-9FAA-990276C9A577}"/>
          </ac:picMkLst>
        </pc:picChg>
      </pc:sldChg>
      <pc:sldChg chg="addSp delSp modSp add mod">
        <pc:chgData name="Aurelien Domont" userId="6da7715ce44349b3" providerId="LiveId" clId="{C37E6FE4-15B9-445D-9A12-9B3805BC54CA}" dt="2021-05-26T05:10:26.946" v="488" actId="20577"/>
        <pc:sldMkLst>
          <pc:docMk/>
          <pc:sldMk cId="1291775963" sldId="2192"/>
        </pc:sldMkLst>
        <pc:spChg chg="add mod">
          <ac:chgData name="Aurelien Domont" userId="6da7715ce44349b3" providerId="LiveId" clId="{C37E6FE4-15B9-445D-9A12-9B3805BC54CA}" dt="2021-05-26T05:07:11.736" v="368"/>
          <ac:spMkLst>
            <pc:docMk/>
            <pc:sldMk cId="1291775963" sldId="2192"/>
            <ac:spMk id="14" creationId="{167494EE-7FB6-441C-A7C0-E179E5454E91}"/>
          </ac:spMkLst>
        </pc:spChg>
        <pc:spChg chg="mod">
          <ac:chgData name="Aurelien Domont" userId="6da7715ce44349b3" providerId="LiveId" clId="{C37E6FE4-15B9-445D-9A12-9B3805BC54CA}" dt="2021-05-26T05:10:26.946" v="488" actId="20577"/>
          <ac:spMkLst>
            <pc:docMk/>
            <pc:sldMk cId="1291775963" sldId="2192"/>
            <ac:spMk id="16" creationId="{6C2BB713-9637-4B9B-938F-E9768876782A}"/>
          </ac:spMkLst>
        </pc:spChg>
        <pc:spChg chg="add mod">
          <ac:chgData name="Aurelien Domont" userId="6da7715ce44349b3" providerId="LiveId" clId="{C37E6FE4-15B9-445D-9A12-9B3805BC54CA}" dt="2021-05-26T05:07:32.420" v="396" actId="20577"/>
          <ac:spMkLst>
            <pc:docMk/>
            <pc:sldMk cId="1291775963" sldId="2192"/>
            <ac:spMk id="17" creationId="{04528831-2C34-48CB-B79E-30696FB22302}"/>
          </ac:spMkLst>
        </pc:spChg>
        <pc:spChg chg="add mod">
          <ac:chgData name="Aurelien Domont" userId="6da7715ce44349b3" providerId="LiveId" clId="{C37E6FE4-15B9-445D-9A12-9B3805BC54CA}" dt="2021-05-26T05:07:11.736" v="368"/>
          <ac:spMkLst>
            <pc:docMk/>
            <pc:sldMk cId="1291775963" sldId="2192"/>
            <ac:spMk id="18" creationId="{844688B4-3975-472F-AF9B-53B7020687A9}"/>
          </ac:spMkLst>
        </pc:spChg>
        <pc:spChg chg="del">
          <ac:chgData name="Aurelien Domont" userId="6da7715ce44349b3" providerId="LiveId" clId="{C37E6FE4-15B9-445D-9A12-9B3805BC54CA}" dt="2021-05-26T05:06:40.863" v="366" actId="478"/>
          <ac:spMkLst>
            <pc:docMk/>
            <pc:sldMk cId="1291775963" sldId="2192"/>
            <ac:spMk id="19" creationId="{D3085E64-A49E-4AA5-9FB7-6BD6CC0BCC57}"/>
          </ac:spMkLst>
        </pc:spChg>
        <pc:spChg chg="add mod">
          <ac:chgData name="Aurelien Domont" userId="6da7715ce44349b3" providerId="LiveId" clId="{C37E6FE4-15B9-445D-9A12-9B3805BC54CA}" dt="2021-05-26T05:07:35.663" v="397"/>
          <ac:spMkLst>
            <pc:docMk/>
            <pc:sldMk cId="1291775963" sldId="2192"/>
            <ac:spMk id="20" creationId="{D6436089-34A2-4772-B070-2765BB60AFD0}"/>
          </ac:spMkLst>
        </pc:spChg>
        <pc:spChg chg="add mod">
          <ac:chgData name="Aurelien Domont" userId="6da7715ce44349b3" providerId="LiveId" clId="{C37E6FE4-15B9-445D-9A12-9B3805BC54CA}" dt="2021-05-26T05:07:11.736" v="368"/>
          <ac:spMkLst>
            <pc:docMk/>
            <pc:sldMk cId="1291775963" sldId="2192"/>
            <ac:spMk id="21" creationId="{6D0E7658-01F1-4B95-913E-D94DF351F186}"/>
          </ac:spMkLst>
        </pc:spChg>
        <pc:spChg chg="add mod">
          <ac:chgData name="Aurelien Domont" userId="6da7715ce44349b3" providerId="LiveId" clId="{C37E6FE4-15B9-445D-9A12-9B3805BC54CA}" dt="2021-05-26T05:07:36.840" v="398"/>
          <ac:spMkLst>
            <pc:docMk/>
            <pc:sldMk cId="1291775963" sldId="2192"/>
            <ac:spMk id="22" creationId="{8CC6436D-F35C-4871-BE0F-1421BBDCB2CF}"/>
          </ac:spMkLst>
        </pc:spChg>
        <pc:spChg chg="add mod">
          <ac:chgData name="Aurelien Domont" userId="6da7715ce44349b3" providerId="LiveId" clId="{C37E6FE4-15B9-445D-9A12-9B3805BC54CA}" dt="2021-05-26T05:07:11.736" v="368"/>
          <ac:spMkLst>
            <pc:docMk/>
            <pc:sldMk cId="1291775963" sldId="2192"/>
            <ac:spMk id="23" creationId="{86A65187-C9AE-43F0-B283-8A6E0BA61A34}"/>
          </ac:spMkLst>
        </pc:spChg>
        <pc:spChg chg="add mod">
          <ac:chgData name="Aurelien Domont" userId="6da7715ce44349b3" providerId="LiveId" clId="{C37E6FE4-15B9-445D-9A12-9B3805BC54CA}" dt="2021-05-26T05:07:38.183" v="399"/>
          <ac:spMkLst>
            <pc:docMk/>
            <pc:sldMk cId="1291775963" sldId="2192"/>
            <ac:spMk id="24" creationId="{174C1F3C-6792-4FF0-9605-123ECED1D1A0}"/>
          </ac:spMkLst>
        </pc:spChg>
        <pc:spChg chg="add mod">
          <ac:chgData name="Aurelien Domont" userId="6da7715ce44349b3" providerId="LiveId" clId="{C37E6FE4-15B9-445D-9A12-9B3805BC54CA}" dt="2021-05-26T05:07:11.736" v="368"/>
          <ac:spMkLst>
            <pc:docMk/>
            <pc:sldMk cId="1291775963" sldId="2192"/>
            <ac:spMk id="25" creationId="{B92C5BC4-C415-4EA1-A9C5-A2C13FADD5E3}"/>
          </ac:spMkLst>
        </pc:spChg>
        <pc:spChg chg="add mod">
          <ac:chgData name="Aurelien Domont" userId="6da7715ce44349b3" providerId="LiveId" clId="{C37E6FE4-15B9-445D-9A12-9B3805BC54CA}" dt="2021-05-26T05:07:39.378" v="400"/>
          <ac:spMkLst>
            <pc:docMk/>
            <pc:sldMk cId="1291775963" sldId="2192"/>
            <ac:spMk id="26" creationId="{F1C4F8FD-C173-4C86-B0EF-40E235CCD39D}"/>
          </ac:spMkLst>
        </pc:spChg>
        <pc:spChg chg="add mod">
          <ac:chgData name="Aurelien Domont" userId="6da7715ce44349b3" providerId="LiveId" clId="{C37E6FE4-15B9-445D-9A12-9B3805BC54CA}" dt="2021-05-26T05:07:18.529" v="379" actId="20577"/>
          <ac:spMkLst>
            <pc:docMk/>
            <pc:sldMk cId="1291775963" sldId="2192"/>
            <ac:spMk id="27" creationId="{3C7BF620-7666-4029-874D-B6D841967A7E}"/>
          </ac:spMkLst>
        </pc:spChg>
        <pc:spChg chg="add mod">
          <ac:chgData name="Aurelien Domont" userId="6da7715ce44349b3" providerId="LiveId" clId="{C37E6FE4-15B9-445D-9A12-9B3805BC54CA}" dt="2021-05-26T05:07:22.303" v="380"/>
          <ac:spMkLst>
            <pc:docMk/>
            <pc:sldMk cId="1291775963" sldId="2192"/>
            <ac:spMk id="28" creationId="{48E2BB3E-102E-456D-99C5-79D56D89D77B}"/>
          </ac:spMkLst>
        </pc:spChg>
        <pc:spChg chg="add mod">
          <ac:chgData name="Aurelien Domont" userId="6da7715ce44349b3" providerId="LiveId" clId="{C37E6FE4-15B9-445D-9A12-9B3805BC54CA}" dt="2021-05-26T05:07:23.568" v="381"/>
          <ac:spMkLst>
            <pc:docMk/>
            <pc:sldMk cId="1291775963" sldId="2192"/>
            <ac:spMk id="29" creationId="{8B5BBAA7-ED10-47C1-90CD-21712EAC44E2}"/>
          </ac:spMkLst>
        </pc:spChg>
        <pc:spChg chg="add mod">
          <ac:chgData name="Aurelien Domont" userId="6da7715ce44349b3" providerId="LiveId" clId="{C37E6FE4-15B9-445D-9A12-9B3805BC54CA}" dt="2021-05-26T05:07:24.685" v="382"/>
          <ac:spMkLst>
            <pc:docMk/>
            <pc:sldMk cId="1291775963" sldId="2192"/>
            <ac:spMk id="30" creationId="{AB766A37-68EE-4AF7-AD2F-05B138800BE7}"/>
          </ac:spMkLst>
        </pc:spChg>
        <pc:spChg chg="add mod">
          <ac:chgData name="Aurelien Domont" userId="6da7715ce44349b3" providerId="LiveId" clId="{C37E6FE4-15B9-445D-9A12-9B3805BC54CA}" dt="2021-05-26T05:07:25.871" v="383"/>
          <ac:spMkLst>
            <pc:docMk/>
            <pc:sldMk cId="1291775963" sldId="2192"/>
            <ac:spMk id="31" creationId="{33E19E24-2D25-41F3-874E-953472B7BA9D}"/>
          </ac:spMkLst>
        </pc:spChg>
        <pc:spChg chg="del">
          <ac:chgData name="Aurelien Domont" userId="6da7715ce44349b3" providerId="LiveId" clId="{C37E6FE4-15B9-445D-9A12-9B3805BC54CA}" dt="2021-05-26T05:06:40.863" v="366" actId="478"/>
          <ac:spMkLst>
            <pc:docMk/>
            <pc:sldMk cId="1291775963" sldId="2192"/>
            <ac:spMk id="39" creationId="{0E0B70C6-5AF7-455A-A384-416383514AD8}"/>
          </ac:spMkLst>
        </pc:spChg>
        <pc:spChg chg="del">
          <ac:chgData name="Aurelien Domont" userId="6da7715ce44349b3" providerId="LiveId" clId="{C37E6FE4-15B9-445D-9A12-9B3805BC54CA}" dt="2021-05-26T05:06:40.863" v="366" actId="478"/>
          <ac:spMkLst>
            <pc:docMk/>
            <pc:sldMk cId="1291775963" sldId="2192"/>
            <ac:spMk id="41" creationId="{096C5C5F-D174-4BC9-82B9-0BC01998CD1A}"/>
          </ac:spMkLst>
        </pc:spChg>
        <pc:spChg chg="del">
          <ac:chgData name="Aurelien Domont" userId="6da7715ce44349b3" providerId="LiveId" clId="{C37E6FE4-15B9-445D-9A12-9B3805BC54CA}" dt="2021-05-26T05:06:40.863" v="366" actId="478"/>
          <ac:spMkLst>
            <pc:docMk/>
            <pc:sldMk cId="1291775963" sldId="2192"/>
            <ac:spMk id="46" creationId="{EB357721-E879-406E-B6C9-A00B77C40A14}"/>
          </ac:spMkLst>
        </pc:spChg>
        <pc:picChg chg="del">
          <ac:chgData name="Aurelien Domont" userId="6da7715ce44349b3" providerId="LiveId" clId="{C37E6FE4-15B9-445D-9A12-9B3805BC54CA}" dt="2021-05-26T05:06:40.863" v="366" actId="478"/>
          <ac:picMkLst>
            <pc:docMk/>
            <pc:sldMk cId="1291775963" sldId="2192"/>
            <ac:picMk id="4" creationId="{9E3215DB-FE8C-4F07-9CBD-3D44D722D0D3}"/>
          </ac:picMkLst>
        </pc:picChg>
        <pc:picChg chg="del">
          <ac:chgData name="Aurelien Domont" userId="6da7715ce44349b3" providerId="LiveId" clId="{C37E6FE4-15B9-445D-9A12-9B3805BC54CA}" dt="2021-05-26T05:06:40.863" v="366" actId="478"/>
          <ac:picMkLst>
            <pc:docMk/>
            <pc:sldMk cId="1291775963" sldId="2192"/>
            <ac:picMk id="6" creationId="{137244FF-4023-459B-BD6D-822DA0130AB3}"/>
          </ac:picMkLst>
        </pc:picChg>
        <pc:picChg chg="del">
          <ac:chgData name="Aurelien Domont" userId="6da7715ce44349b3" providerId="LiveId" clId="{C37E6FE4-15B9-445D-9A12-9B3805BC54CA}" dt="2021-05-26T05:06:40.863" v="366" actId="478"/>
          <ac:picMkLst>
            <pc:docMk/>
            <pc:sldMk cId="1291775963" sldId="2192"/>
            <ac:picMk id="8" creationId="{1A1AE8A9-F556-434F-80D3-136B724E8D9C}"/>
          </ac:picMkLst>
        </pc:picChg>
        <pc:picChg chg="del">
          <ac:chgData name="Aurelien Domont" userId="6da7715ce44349b3" providerId="LiveId" clId="{C37E6FE4-15B9-445D-9A12-9B3805BC54CA}" dt="2021-05-26T05:06:40.863" v="366" actId="478"/>
          <ac:picMkLst>
            <pc:docMk/>
            <pc:sldMk cId="1291775963" sldId="2192"/>
            <ac:picMk id="15" creationId="{C7EF3C36-0F1D-4A9A-9539-0653C9A6EB35}"/>
          </ac:picMkLst>
        </pc:picChg>
      </pc:sldChg>
      <pc:sldChg chg="modSp add mod">
        <pc:chgData name="Aurelien Domont" userId="6da7715ce44349b3" providerId="LiveId" clId="{C37E6FE4-15B9-445D-9A12-9B3805BC54CA}" dt="2021-05-27T01:51:43.899" v="1925"/>
        <pc:sldMkLst>
          <pc:docMk/>
          <pc:sldMk cId="1499175507" sldId="2193"/>
        </pc:sldMkLst>
        <pc:spChg chg="mod">
          <ac:chgData name="Aurelien Domont" userId="6da7715ce44349b3" providerId="LiveId" clId="{C37E6FE4-15B9-445D-9A12-9B3805BC54CA}" dt="2021-05-26T05:08:39.650" v="420" actId="1035"/>
          <ac:spMkLst>
            <pc:docMk/>
            <pc:sldMk cId="1499175507" sldId="2193"/>
            <ac:spMk id="15" creationId="{7F7B73D2-A592-459F-AABD-FF843772DAB3}"/>
          </ac:spMkLst>
        </pc:spChg>
        <pc:spChg chg="mod">
          <ac:chgData name="Aurelien Domont" userId="6da7715ce44349b3" providerId="LiveId" clId="{C37E6FE4-15B9-445D-9A12-9B3805BC54CA}" dt="2021-05-26T05:09:04.122" v="424" actId="20577"/>
          <ac:spMkLst>
            <pc:docMk/>
            <pc:sldMk cId="1499175507" sldId="2193"/>
            <ac:spMk id="16" creationId="{6C2BB713-9637-4B9B-938F-E9768876782A}"/>
          </ac:spMkLst>
        </pc:spChg>
        <pc:spChg chg="mod">
          <ac:chgData name="Aurelien Domont" userId="6da7715ce44349b3" providerId="LiveId" clId="{C37E6FE4-15B9-445D-9A12-9B3805BC54CA}" dt="2021-05-26T06:39:15.567" v="1915"/>
          <ac:spMkLst>
            <pc:docMk/>
            <pc:sldMk cId="1499175507" sldId="2193"/>
            <ac:spMk id="27" creationId="{BE7FA4F0-3C49-4DE0-BDCC-49225B7F31CF}"/>
          </ac:spMkLst>
        </pc:spChg>
        <pc:spChg chg="mod">
          <ac:chgData name="Aurelien Domont" userId="6da7715ce44349b3" providerId="LiveId" clId="{C37E6FE4-15B9-445D-9A12-9B3805BC54CA}" dt="2021-05-27T01:51:43.899" v="1925"/>
          <ac:spMkLst>
            <pc:docMk/>
            <pc:sldMk cId="1499175507" sldId="2193"/>
            <ac:spMk id="29" creationId="{EBEF7E50-77EE-4FFC-9C8F-5F1C532B51AE}"/>
          </ac:spMkLst>
        </pc:spChg>
      </pc:sldChg>
      <pc:sldChg chg="addSp delSp modSp add del mod">
        <pc:chgData name="Aurelien Domont" userId="6da7715ce44349b3" providerId="LiveId" clId="{C37E6FE4-15B9-445D-9A12-9B3805BC54CA}" dt="2021-05-26T05:26:47.942" v="620" actId="47"/>
        <pc:sldMkLst>
          <pc:docMk/>
          <pc:sldMk cId="1757238669" sldId="2194"/>
        </pc:sldMkLst>
        <pc:spChg chg="add del mod">
          <ac:chgData name="Aurelien Domont" userId="6da7715ce44349b3" providerId="LiveId" clId="{C37E6FE4-15B9-445D-9A12-9B3805BC54CA}" dt="2021-05-26T05:17:00.068" v="520" actId="478"/>
          <ac:spMkLst>
            <pc:docMk/>
            <pc:sldMk cId="1757238669" sldId="2194"/>
            <ac:spMk id="2" creationId="{E2E70413-CA79-49D5-82BC-B6E1E8EEC277}"/>
          </ac:spMkLst>
        </pc:spChg>
        <pc:spChg chg="add del mod">
          <ac:chgData name="Aurelien Domont" userId="6da7715ce44349b3" providerId="LiveId" clId="{C37E6FE4-15B9-445D-9A12-9B3805BC54CA}" dt="2021-05-26T05:12:37.312" v="515" actId="478"/>
          <ac:spMkLst>
            <pc:docMk/>
            <pc:sldMk cId="1757238669" sldId="2194"/>
            <ac:spMk id="14" creationId="{16ACBEBD-5888-44FA-BB6F-481BF942B8A6}"/>
          </ac:spMkLst>
        </pc:spChg>
        <pc:spChg chg="mod">
          <ac:chgData name="Aurelien Domont" userId="6da7715ce44349b3" providerId="LiveId" clId="{C37E6FE4-15B9-445D-9A12-9B3805BC54CA}" dt="2021-05-26T05:16:57.382" v="519" actId="20577"/>
          <ac:spMkLst>
            <pc:docMk/>
            <pc:sldMk cId="1757238669" sldId="2194"/>
            <ac:spMk id="16" creationId="{6C2BB713-9637-4B9B-938F-E9768876782A}"/>
          </ac:spMkLst>
        </pc:spChg>
        <pc:spChg chg="add del mod">
          <ac:chgData name="Aurelien Domont" userId="6da7715ce44349b3" providerId="LiveId" clId="{C37E6FE4-15B9-445D-9A12-9B3805BC54CA}" dt="2021-05-26T05:12:37.312" v="515" actId="478"/>
          <ac:spMkLst>
            <pc:docMk/>
            <pc:sldMk cId="1757238669" sldId="2194"/>
            <ac:spMk id="17" creationId="{34478523-8E98-42FD-ABFF-537E78088C88}"/>
          </ac:spMkLst>
        </pc:spChg>
        <pc:spChg chg="add del mod">
          <ac:chgData name="Aurelien Domont" userId="6da7715ce44349b3" providerId="LiveId" clId="{C37E6FE4-15B9-445D-9A12-9B3805BC54CA}" dt="2021-05-26T05:12:37.312" v="515" actId="478"/>
          <ac:spMkLst>
            <pc:docMk/>
            <pc:sldMk cId="1757238669" sldId="2194"/>
            <ac:spMk id="18" creationId="{710B8045-8D7D-4140-A015-AF1D85227E70}"/>
          </ac:spMkLst>
        </pc:spChg>
        <pc:spChg chg="del">
          <ac:chgData name="Aurelien Domont" userId="6da7715ce44349b3" providerId="LiveId" clId="{C37E6FE4-15B9-445D-9A12-9B3805BC54CA}" dt="2021-05-26T05:09:53.655" v="459" actId="478"/>
          <ac:spMkLst>
            <pc:docMk/>
            <pc:sldMk cId="1757238669" sldId="2194"/>
            <ac:spMk id="19" creationId="{D3085E64-A49E-4AA5-9FB7-6BD6CC0BCC57}"/>
          </ac:spMkLst>
        </pc:spChg>
        <pc:spChg chg="add del mod">
          <ac:chgData name="Aurelien Domont" userId="6da7715ce44349b3" providerId="LiveId" clId="{C37E6FE4-15B9-445D-9A12-9B3805BC54CA}" dt="2021-05-26T05:17:00.068" v="520" actId="478"/>
          <ac:spMkLst>
            <pc:docMk/>
            <pc:sldMk cId="1757238669" sldId="2194"/>
            <ac:spMk id="20" creationId="{EF113980-B8CF-4E32-9D22-B0880D9DFF88}"/>
          </ac:spMkLst>
        </pc:spChg>
        <pc:spChg chg="add del mod">
          <ac:chgData name="Aurelien Domont" userId="6da7715ce44349b3" providerId="LiveId" clId="{C37E6FE4-15B9-445D-9A12-9B3805BC54CA}" dt="2021-05-26T05:17:00.068" v="520" actId="478"/>
          <ac:spMkLst>
            <pc:docMk/>
            <pc:sldMk cId="1757238669" sldId="2194"/>
            <ac:spMk id="21" creationId="{E602CDB0-5D48-4F4F-A739-4D8FF3EBF13D}"/>
          </ac:spMkLst>
        </pc:spChg>
        <pc:spChg chg="add del mod">
          <ac:chgData name="Aurelien Domont" userId="6da7715ce44349b3" providerId="LiveId" clId="{C37E6FE4-15B9-445D-9A12-9B3805BC54CA}" dt="2021-05-26T05:17:00.068" v="520" actId="478"/>
          <ac:spMkLst>
            <pc:docMk/>
            <pc:sldMk cId="1757238669" sldId="2194"/>
            <ac:spMk id="22" creationId="{8D1EA982-7A00-4328-965D-E0731148399D}"/>
          </ac:spMkLst>
        </pc:spChg>
        <pc:spChg chg="add mod">
          <ac:chgData name="Aurelien Domont" userId="6da7715ce44349b3" providerId="LiveId" clId="{C37E6FE4-15B9-445D-9A12-9B3805BC54CA}" dt="2021-05-26T05:17:18.514" v="559" actId="20577"/>
          <ac:spMkLst>
            <pc:docMk/>
            <pc:sldMk cId="1757238669" sldId="2194"/>
            <ac:spMk id="23" creationId="{EF6390E9-CA21-4E4A-BD96-E347637E7E55}"/>
          </ac:spMkLst>
        </pc:spChg>
        <pc:spChg chg="add mod">
          <ac:chgData name="Aurelien Domont" userId="6da7715ce44349b3" providerId="LiveId" clId="{C37E6FE4-15B9-445D-9A12-9B3805BC54CA}" dt="2021-05-26T05:17:21.399" v="560"/>
          <ac:spMkLst>
            <pc:docMk/>
            <pc:sldMk cId="1757238669" sldId="2194"/>
            <ac:spMk id="24" creationId="{21B26A3D-3302-4765-AD44-544B4188490A}"/>
          </ac:spMkLst>
        </pc:spChg>
        <pc:spChg chg="add mod">
          <ac:chgData name="Aurelien Domont" userId="6da7715ce44349b3" providerId="LiveId" clId="{C37E6FE4-15B9-445D-9A12-9B3805BC54CA}" dt="2021-05-26T05:17:22.898" v="561"/>
          <ac:spMkLst>
            <pc:docMk/>
            <pc:sldMk cId="1757238669" sldId="2194"/>
            <ac:spMk id="25" creationId="{D5A12176-6615-4F4E-AB4D-AD3F7AFD0959}"/>
          </ac:spMkLst>
        </pc:spChg>
        <pc:spChg chg="add mod">
          <ac:chgData name="Aurelien Domont" userId="6da7715ce44349b3" providerId="LiveId" clId="{C37E6FE4-15B9-445D-9A12-9B3805BC54CA}" dt="2021-05-26T05:16:38.067" v="516"/>
          <ac:spMkLst>
            <pc:docMk/>
            <pc:sldMk cId="1757238669" sldId="2194"/>
            <ac:spMk id="26" creationId="{60E44E0D-04BE-4E5D-BFF7-FABC4D160859}"/>
          </ac:spMkLst>
        </pc:spChg>
        <pc:spChg chg="add mod">
          <ac:chgData name="Aurelien Domont" userId="6da7715ce44349b3" providerId="LiveId" clId="{C37E6FE4-15B9-445D-9A12-9B3805BC54CA}" dt="2021-05-26T05:16:38.067" v="516"/>
          <ac:spMkLst>
            <pc:docMk/>
            <pc:sldMk cId="1757238669" sldId="2194"/>
            <ac:spMk id="27" creationId="{C6BD5554-EA63-44F4-AF38-EDE032FFAE9D}"/>
          </ac:spMkLst>
        </pc:spChg>
        <pc:spChg chg="add mod">
          <ac:chgData name="Aurelien Domont" userId="6da7715ce44349b3" providerId="LiveId" clId="{C37E6FE4-15B9-445D-9A12-9B3805BC54CA}" dt="2021-05-26T05:16:38.067" v="516"/>
          <ac:spMkLst>
            <pc:docMk/>
            <pc:sldMk cId="1757238669" sldId="2194"/>
            <ac:spMk id="28" creationId="{A14BF12D-0188-4DDA-ADA2-4FFF4B357F55}"/>
          </ac:spMkLst>
        </pc:spChg>
        <pc:spChg chg="del">
          <ac:chgData name="Aurelien Domont" userId="6da7715ce44349b3" providerId="LiveId" clId="{C37E6FE4-15B9-445D-9A12-9B3805BC54CA}" dt="2021-05-26T05:09:53.655" v="459" actId="478"/>
          <ac:spMkLst>
            <pc:docMk/>
            <pc:sldMk cId="1757238669" sldId="2194"/>
            <ac:spMk id="39" creationId="{0E0B70C6-5AF7-455A-A384-416383514AD8}"/>
          </ac:spMkLst>
        </pc:spChg>
        <pc:spChg chg="del">
          <ac:chgData name="Aurelien Domont" userId="6da7715ce44349b3" providerId="LiveId" clId="{C37E6FE4-15B9-445D-9A12-9B3805BC54CA}" dt="2021-05-26T05:09:53.655" v="459" actId="478"/>
          <ac:spMkLst>
            <pc:docMk/>
            <pc:sldMk cId="1757238669" sldId="2194"/>
            <ac:spMk id="41" creationId="{096C5C5F-D174-4BC9-82B9-0BC01998CD1A}"/>
          </ac:spMkLst>
        </pc:spChg>
        <pc:spChg chg="del">
          <ac:chgData name="Aurelien Domont" userId="6da7715ce44349b3" providerId="LiveId" clId="{C37E6FE4-15B9-445D-9A12-9B3805BC54CA}" dt="2021-05-26T05:09:53.655" v="459" actId="478"/>
          <ac:spMkLst>
            <pc:docMk/>
            <pc:sldMk cId="1757238669" sldId="2194"/>
            <ac:spMk id="46" creationId="{EB357721-E879-406E-B6C9-A00B77C40A14}"/>
          </ac:spMkLst>
        </pc:spChg>
        <pc:picChg chg="del">
          <ac:chgData name="Aurelien Domont" userId="6da7715ce44349b3" providerId="LiveId" clId="{C37E6FE4-15B9-445D-9A12-9B3805BC54CA}" dt="2021-05-26T05:09:53.655" v="459" actId="478"/>
          <ac:picMkLst>
            <pc:docMk/>
            <pc:sldMk cId="1757238669" sldId="2194"/>
            <ac:picMk id="4" creationId="{9E3215DB-FE8C-4F07-9CBD-3D44D722D0D3}"/>
          </ac:picMkLst>
        </pc:picChg>
        <pc:picChg chg="del">
          <ac:chgData name="Aurelien Domont" userId="6da7715ce44349b3" providerId="LiveId" clId="{C37E6FE4-15B9-445D-9A12-9B3805BC54CA}" dt="2021-05-26T05:09:53.655" v="459" actId="478"/>
          <ac:picMkLst>
            <pc:docMk/>
            <pc:sldMk cId="1757238669" sldId="2194"/>
            <ac:picMk id="6" creationId="{137244FF-4023-459B-BD6D-822DA0130AB3}"/>
          </ac:picMkLst>
        </pc:picChg>
        <pc:picChg chg="del">
          <ac:chgData name="Aurelien Domont" userId="6da7715ce44349b3" providerId="LiveId" clId="{C37E6FE4-15B9-445D-9A12-9B3805BC54CA}" dt="2021-05-26T05:09:53.655" v="459" actId="478"/>
          <ac:picMkLst>
            <pc:docMk/>
            <pc:sldMk cId="1757238669" sldId="2194"/>
            <ac:picMk id="8" creationId="{1A1AE8A9-F556-434F-80D3-136B724E8D9C}"/>
          </ac:picMkLst>
        </pc:picChg>
        <pc:picChg chg="del">
          <ac:chgData name="Aurelien Domont" userId="6da7715ce44349b3" providerId="LiveId" clId="{C37E6FE4-15B9-445D-9A12-9B3805BC54CA}" dt="2021-05-26T05:09:53.655" v="459" actId="478"/>
          <ac:picMkLst>
            <pc:docMk/>
            <pc:sldMk cId="1757238669" sldId="2194"/>
            <ac:picMk id="15" creationId="{C7EF3C36-0F1D-4A9A-9539-0653C9A6EB35}"/>
          </ac:picMkLst>
        </pc:picChg>
      </pc:sldChg>
      <pc:sldChg chg="addSp delSp modSp add mod">
        <pc:chgData name="Aurelien Domont" userId="6da7715ce44349b3" providerId="LiveId" clId="{C37E6FE4-15B9-445D-9A12-9B3805BC54CA}" dt="2021-05-26T05:41:06.912" v="1213" actId="478"/>
        <pc:sldMkLst>
          <pc:docMk/>
          <pc:sldMk cId="1177967045" sldId="2195"/>
        </pc:sldMkLst>
        <pc:spChg chg="mod">
          <ac:chgData name="Aurelien Domont" userId="6da7715ce44349b3" providerId="LiveId" clId="{C37E6FE4-15B9-445D-9A12-9B3805BC54CA}" dt="2021-05-26T05:10:54.774" v="504" actId="20577"/>
          <ac:spMkLst>
            <pc:docMk/>
            <pc:sldMk cId="1177967045" sldId="2195"/>
            <ac:spMk id="16" creationId="{6C2BB713-9637-4B9B-938F-E9768876782A}"/>
          </ac:spMkLst>
        </pc:spChg>
        <pc:spChg chg="add del mod">
          <ac:chgData name="Aurelien Domont" userId="6da7715ce44349b3" providerId="LiveId" clId="{C37E6FE4-15B9-445D-9A12-9B3805BC54CA}" dt="2021-05-26T05:41:06.912" v="1213" actId="478"/>
          <ac:spMkLst>
            <pc:docMk/>
            <pc:sldMk cId="1177967045" sldId="2195"/>
            <ac:spMk id="32" creationId="{2985E824-28DA-4C72-AD81-03DE83F3B9AF}"/>
          </ac:spMkLst>
        </pc:spChg>
      </pc:sldChg>
      <pc:sldChg chg="addSp delSp modSp add mod">
        <pc:chgData name="Aurelien Domont" userId="6da7715ce44349b3" providerId="LiveId" clId="{C37E6FE4-15B9-445D-9A12-9B3805BC54CA}" dt="2021-05-26T05:26:03.158" v="565" actId="478"/>
        <pc:sldMkLst>
          <pc:docMk/>
          <pc:sldMk cId="793542605" sldId="2196"/>
        </pc:sldMkLst>
        <pc:spChg chg="add del mod">
          <ac:chgData name="Aurelien Domont" userId="6da7715ce44349b3" providerId="LiveId" clId="{C37E6FE4-15B9-445D-9A12-9B3805BC54CA}" dt="2021-05-26T05:26:03.158" v="565" actId="478"/>
          <ac:spMkLst>
            <pc:docMk/>
            <pc:sldMk cId="793542605" sldId="2196"/>
            <ac:spMk id="11" creationId="{7B8F4865-B849-43D8-99C8-367DB26F1DF5}"/>
          </ac:spMkLst>
        </pc:spChg>
      </pc:sldChg>
      <pc:sldChg chg="modSp add mod">
        <pc:chgData name="Aurelien Domont" userId="6da7715ce44349b3" providerId="LiveId" clId="{C37E6FE4-15B9-445D-9A12-9B3805BC54CA}" dt="2021-05-26T05:26:30.643" v="619" actId="20577"/>
        <pc:sldMkLst>
          <pc:docMk/>
          <pc:sldMk cId="1206354650" sldId="2197"/>
        </pc:sldMkLst>
        <pc:spChg chg="mod">
          <ac:chgData name="Aurelien Domont" userId="6da7715ce44349b3" providerId="LiveId" clId="{C37E6FE4-15B9-445D-9A12-9B3805BC54CA}" dt="2021-05-26T05:26:07.631" v="567" actId="14100"/>
          <ac:spMkLst>
            <pc:docMk/>
            <pc:sldMk cId="1206354650" sldId="2197"/>
            <ac:spMk id="11" creationId="{7B8F4865-B849-43D8-99C8-367DB26F1DF5}"/>
          </ac:spMkLst>
        </pc:spChg>
        <pc:spChg chg="mod">
          <ac:chgData name="Aurelien Domont" userId="6da7715ce44349b3" providerId="LiveId" clId="{C37E6FE4-15B9-445D-9A12-9B3805BC54CA}" dt="2021-05-26T05:26:12.662" v="581" actId="20577"/>
          <ac:spMkLst>
            <pc:docMk/>
            <pc:sldMk cId="1206354650" sldId="2197"/>
            <ac:spMk id="23" creationId="{EF6390E9-CA21-4E4A-BD96-E347637E7E55}"/>
          </ac:spMkLst>
        </pc:spChg>
        <pc:spChg chg="mod">
          <ac:chgData name="Aurelien Domont" userId="6da7715ce44349b3" providerId="LiveId" clId="{C37E6FE4-15B9-445D-9A12-9B3805BC54CA}" dt="2021-05-26T05:26:23.544" v="597" actId="20577"/>
          <ac:spMkLst>
            <pc:docMk/>
            <pc:sldMk cId="1206354650" sldId="2197"/>
            <ac:spMk id="24" creationId="{21B26A3D-3302-4765-AD44-544B4188490A}"/>
          </ac:spMkLst>
        </pc:spChg>
        <pc:spChg chg="mod">
          <ac:chgData name="Aurelien Domont" userId="6da7715ce44349b3" providerId="LiveId" clId="{C37E6FE4-15B9-445D-9A12-9B3805BC54CA}" dt="2021-05-26T05:26:30.643" v="619" actId="20577"/>
          <ac:spMkLst>
            <pc:docMk/>
            <pc:sldMk cId="1206354650" sldId="2197"/>
            <ac:spMk id="25" creationId="{D5A12176-6615-4F4E-AB4D-AD3F7AFD0959}"/>
          </ac:spMkLst>
        </pc:spChg>
      </pc:sldChg>
      <pc:sldChg chg="addSp modSp add mod">
        <pc:chgData name="Aurelien Domont" userId="6da7715ce44349b3" providerId="LiveId" clId="{C37E6FE4-15B9-445D-9A12-9B3805BC54CA}" dt="2021-05-26T05:30:13.945" v="843" actId="1076"/>
        <pc:sldMkLst>
          <pc:docMk/>
          <pc:sldMk cId="2990142530" sldId="2198"/>
        </pc:sldMkLst>
        <pc:spChg chg="mod">
          <ac:chgData name="Aurelien Domont" userId="6da7715ce44349b3" providerId="LiveId" clId="{C37E6FE4-15B9-445D-9A12-9B3805BC54CA}" dt="2021-05-26T05:28:25.373" v="716" actId="20577"/>
          <ac:spMkLst>
            <pc:docMk/>
            <pc:sldMk cId="2990142530" sldId="2198"/>
            <ac:spMk id="17" creationId="{04528831-2C34-48CB-B79E-30696FB22302}"/>
          </ac:spMkLst>
        </pc:spChg>
        <pc:spChg chg="mod">
          <ac:chgData name="Aurelien Domont" userId="6da7715ce44349b3" providerId="LiveId" clId="{C37E6FE4-15B9-445D-9A12-9B3805BC54CA}" dt="2021-05-26T05:30:09.947" v="842" actId="20577"/>
          <ac:spMkLst>
            <pc:docMk/>
            <pc:sldMk cId="2990142530" sldId="2198"/>
            <ac:spMk id="20" creationId="{D6436089-34A2-4772-B070-2765BB60AFD0}"/>
          </ac:spMkLst>
        </pc:spChg>
        <pc:spChg chg="mod">
          <ac:chgData name="Aurelien Domont" userId="6da7715ce44349b3" providerId="LiveId" clId="{C37E6FE4-15B9-445D-9A12-9B3805BC54CA}" dt="2021-05-26T05:27:50.491" v="635" actId="20577"/>
          <ac:spMkLst>
            <pc:docMk/>
            <pc:sldMk cId="2990142530" sldId="2198"/>
            <ac:spMk id="27" creationId="{3C7BF620-7666-4029-874D-B6D841967A7E}"/>
          </ac:spMkLst>
        </pc:spChg>
        <pc:spChg chg="mod">
          <ac:chgData name="Aurelien Domont" userId="6da7715ce44349b3" providerId="LiveId" clId="{C37E6FE4-15B9-445D-9A12-9B3805BC54CA}" dt="2021-05-26T05:29:08.863" v="783" actId="20577"/>
          <ac:spMkLst>
            <pc:docMk/>
            <pc:sldMk cId="2990142530" sldId="2198"/>
            <ac:spMk id="28" creationId="{48E2BB3E-102E-456D-99C5-79D56D89D77B}"/>
          </ac:spMkLst>
        </pc:spChg>
        <pc:spChg chg="add mod">
          <ac:chgData name="Aurelien Domont" userId="6da7715ce44349b3" providerId="LiveId" clId="{C37E6FE4-15B9-445D-9A12-9B3805BC54CA}" dt="2021-05-26T05:30:13.945" v="843" actId="1076"/>
          <ac:spMkLst>
            <pc:docMk/>
            <pc:sldMk cId="2990142530" sldId="2198"/>
            <ac:spMk id="32" creationId="{51603748-1B41-41AE-910D-89255B5F91EC}"/>
          </ac:spMkLst>
        </pc:spChg>
      </pc:sldChg>
      <pc:sldChg chg="modSp add mod">
        <pc:chgData name="Aurelien Domont" userId="6da7715ce44349b3" providerId="LiveId" clId="{C37E6FE4-15B9-445D-9A12-9B3805BC54CA}" dt="2021-05-27T01:51:47.713" v="1926"/>
        <pc:sldMkLst>
          <pc:docMk/>
          <pc:sldMk cId="3820082592" sldId="2199"/>
        </pc:sldMkLst>
        <pc:spChg chg="mod">
          <ac:chgData name="Aurelien Domont" userId="6da7715ce44349b3" providerId="LiveId" clId="{C37E6FE4-15B9-445D-9A12-9B3805BC54CA}" dt="2021-05-26T05:30:30.125" v="859" actId="1036"/>
          <ac:spMkLst>
            <pc:docMk/>
            <pc:sldMk cId="3820082592" sldId="2199"/>
            <ac:spMk id="15" creationId="{7F7B73D2-A592-459F-AABD-FF843772DAB3}"/>
          </ac:spMkLst>
        </pc:spChg>
        <pc:spChg chg="mod">
          <ac:chgData name="Aurelien Domont" userId="6da7715ce44349b3" providerId="LiveId" clId="{C37E6FE4-15B9-445D-9A12-9B3805BC54CA}" dt="2021-05-26T05:30:39.043" v="861" actId="20577"/>
          <ac:spMkLst>
            <pc:docMk/>
            <pc:sldMk cId="3820082592" sldId="2199"/>
            <ac:spMk id="16" creationId="{6C2BB713-9637-4B9B-938F-E9768876782A}"/>
          </ac:spMkLst>
        </pc:spChg>
        <pc:spChg chg="mod">
          <ac:chgData name="Aurelien Domont" userId="6da7715ce44349b3" providerId="LiveId" clId="{C37E6FE4-15B9-445D-9A12-9B3805BC54CA}" dt="2021-05-26T06:39:15.567" v="1915"/>
          <ac:spMkLst>
            <pc:docMk/>
            <pc:sldMk cId="3820082592" sldId="2199"/>
            <ac:spMk id="27" creationId="{BE7FA4F0-3C49-4DE0-BDCC-49225B7F31CF}"/>
          </ac:spMkLst>
        </pc:spChg>
        <pc:spChg chg="mod">
          <ac:chgData name="Aurelien Domont" userId="6da7715ce44349b3" providerId="LiveId" clId="{C37E6FE4-15B9-445D-9A12-9B3805BC54CA}" dt="2021-05-27T01:51:47.713" v="1926"/>
          <ac:spMkLst>
            <pc:docMk/>
            <pc:sldMk cId="3820082592" sldId="2199"/>
            <ac:spMk id="29" creationId="{EBEF7E50-77EE-4FFC-9C8F-5F1C532B51AE}"/>
          </ac:spMkLst>
        </pc:spChg>
      </pc:sldChg>
      <pc:sldChg chg="addSp delSp modSp add mod">
        <pc:chgData name="Aurelien Domont" userId="6da7715ce44349b3" providerId="LiveId" clId="{C37E6FE4-15B9-445D-9A12-9B3805BC54CA}" dt="2021-05-26T06:03:51.886" v="1887"/>
        <pc:sldMkLst>
          <pc:docMk/>
          <pc:sldMk cId="513527490" sldId="2200"/>
        </pc:sldMkLst>
        <pc:spChg chg="add mod">
          <ac:chgData name="Aurelien Domont" userId="6da7715ce44349b3" providerId="LiveId" clId="{C37E6FE4-15B9-445D-9A12-9B3805BC54CA}" dt="2021-05-26T06:03:51.886" v="1887"/>
          <ac:spMkLst>
            <pc:docMk/>
            <pc:sldMk cId="513527490" sldId="2200"/>
            <ac:spMk id="11" creationId="{B4AD5336-F5AE-4CDC-AC56-A011B8FAD577}"/>
          </ac:spMkLst>
        </pc:spChg>
        <pc:spChg chg="mod">
          <ac:chgData name="Aurelien Domont" userId="6da7715ce44349b3" providerId="LiveId" clId="{C37E6FE4-15B9-445D-9A12-9B3805BC54CA}" dt="2021-05-26T05:33:08.926" v="900" actId="20577"/>
          <ac:spMkLst>
            <pc:docMk/>
            <pc:sldMk cId="513527490" sldId="2200"/>
            <ac:spMk id="16" creationId="{6C2BB713-9637-4B9B-938F-E9768876782A}"/>
          </ac:spMkLst>
        </pc:spChg>
        <pc:spChg chg="mod">
          <ac:chgData name="Aurelien Domont" userId="6da7715ce44349b3" providerId="LiveId" clId="{C37E6FE4-15B9-445D-9A12-9B3805BC54CA}" dt="2021-05-26T05:33:06.338" v="898" actId="1076"/>
          <ac:spMkLst>
            <pc:docMk/>
            <pc:sldMk cId="513527490" sldId="2200"/>
            <ac:spMk id="19" creationId="{D3085E64-A49E-4AA5-9FB7-6BD6CC0BCC57}"/>
          </ac:spMkLst>
        </pc:spChg>
        <pc:spChg chg="mod">
          <ac:chgData name="Aurelien Domont" userId="6da7715ce44349b3" providerId="LiveId" clId="{C37E6FE4-15B9-445D-9A12-9B3805BC54CA}" dt="2021-05-26T05:33:47.501" v="901" actId="20577"/>
          <ac:spMkLst>
            <pc:docMk/>
            <pc:sldMk cId="513527490" sldId="2200"/>
            <ac:spMk id="39" creationId="{0E0B70C6-5AF7-455A-A384-416383514AD8}"/>
          </ac:spMkLst>
        </pc:spChg>
        <pc:spChg chg="mod">
          <ac:chgData name="Aurelien Domont" userId="6da7715ce44349b3" providerId="LiveId" clId="{C37E6FE4-15B9-445D-9A12-9B3805BC54CA}" dt="2021-05-26T05:33:48.829" v="902" actId="20577"/>
          <ac:spMkLst>
            <pc:docMk/>
            <pc:sldMk cId="513527490" sldId="2200"/>
            <ac:spMk id="41" creationId="{096C5C5F-D174-4BC9-82B9-0BC01998CD1A}"/>
          </ac:spMkLst>
        </pc:spChg>
        <pc:spChg chg="del">
          <ac:chgData name="Aurelien Domont" userId="6da7715ce44349b3" providerId="LiveId" clId="{C37E6FE4-15B9-445D-9A12-9B3805BC54CA}" dt="2021-05-26T05:33:03.377" v="897" actId="478"/>
          <ac:spMkLst>
            <pc:docMk/>
            <pc:sldMk cId="513527490" sldId="2200"/>
            <ac:spMk id="46" creationId="{EB357721-E879-406E-B6C9-A00B77C40A14}"/>
          </ac:spMkLst>
        </pc:spChg>
        <pc:picChg chg="mod">
          <ac:chgData name="Aurelien Domont" userId="6da7715ce44349b3" providerId="LiveId" clId="{C37E6FE4-15B9-445D-9A12-9B3805BC54CA}" dt="2021-05-26T05:33:06.338" v="898" actId="1076"/>
          <ac:picMkLst>
            <pc:docMk/>
            <pc:sldMk cId="513527490" sldId="2200"/>
            <ac:picMk id="4" creationId="{9E3215DB-FE8C-4F07-9CBD-3D44D722D0D3}"/>
          </ac:picMkLst>
        </pc:picChg>
        <pc:picChg chg="mod">
          <ac:chgData name="Aurelien Domont" userId="6da7715ce44349b3" providerId="LiveId" clId="{C37E6FE4-15B9-445D-9A12-9B3805BC54CA}" dt="2021-05-26T05:33:06.338" v="898" actId="1076"/>
          <ac:picMkLst>
            <pc:docMk/>
            <pc:sldMk cId="513527490" sldId="2200"/>
            <ac:picMk id="6" creationId="{137244FF-4023-459B-BD6D-822DA0130AB3}"/>
          </ac:picMkLst>
        </pc:picChg>
        <pc:picChg chg="del">
          <ac:chgData name="Aurelien Domont" userId="6da7715ce44349b3" providerId="LiveId" clId="{C37E6FE4-15B9-445D-9A12-9B3805BC54CA}" dt="2021-05-26T05:33:03.377" v="897" actId="478"/>
          <ac:picMkLst>
            <pc:docMk/>
            <pc:sldMk cId="513527490" sldId="2200"/>
            <ac:picMk id="8" creationId="{1A1AE8A9-F556-434F-80D3-136B724E8D9C}"/>
          </ac:picMkLst>
        </pc:picChg>
        <pc:picChg chg="mod">
          <ac:chgData name="Aurelien Domont" userId="6da7715ce44349b3" providerId="LiveId" clId="{C37E6FE4-15B9-445D-9A12-9B3805BC54CA}" dt="2021-05-26T05:33:06.338" v="898" actId="1076"/>
          <ac:picMkLst>
            <pc:docMk/>
            <pc:sldMk cId="513527490" sldId="2200"/>
            <ac:picMk id="15" creationId="{C7EF3C36-0F1D-4A9A-9539-0653C9A6EB35}"/>
          </ac:picMkLst>
        </pc:picChg>
      </pc:sldChg>
      <pc:sldChg chg="add">
        <pc:chgData name="Aurelien Domont" userId="6da7715ce44349b3" providerId="LiveId" clId="{C37E6FE4-15B9-445D-9A12-9B3805BC54CA}" dt="2021-05-26T05:32:27.568" v="887"/>
        <pc:sldMkLst>
          <pc:docMk/>
          <pc:sldMk cId="2661957683" sldId="2201"/>
        </pc:sldMkLst>
      </pc:sldChg>
      <pc:sldChg chg="add del">
        <pc:chgData name="Aurelien Domont" userId="6da7715ce44349b3" providerId="LiveId" clId="{C37E6FE4-15B9-445D-9A12-9B3805BC54CA}" dt="2021-05-26T05:32:18.477" v="886" actId="2696"/>
        <pc:sldMkLst>
          <pc:docMk/>
          <pc:sldMk cId="2794102102" sldId="2201"/>
        </pc:sldMkLst>
      </pc:sldChg>
      <pc:sldChg chg="add">
        <pc:chgData name="Aurelien Domont" userId="6da7715ce44349b3" providerId="LiveId" clId="{C37E6FE4-15B9-445D-9A12-9B3805BC54CA}" dt="2021-05-26T05:32:27.568" v="887"/>
        <pc:sldMkLst>
          <pc:docMk/>
          <pc:sldMk cId="567542991" sldId="2202"/>
        </pc:sldMkLst>
      </pc:sldChg>
      <pc:sldChg chg="add del">
        <pc:chgData name="Aurelien Domont" userId="6da7715ce44349b3" providerId="LiveId" clId="{C37E6FE4-15B9-445D-9A12-9B3805BC54CA}" dt="2021-05-26T05:32:18.477" v="886" actId="2696"/>
        <pc:sldMkLst>
          <pc:docMk/>
          <pc:sldMk cId="3923664058" sldId="2202"/>
        </pc:sldMkLst>
      </pc:sldChg>
      <pc:sldChg chg="modSp add mod">
        <pc:chgData name="Aurelien Domont" userId="6da7715ce44349b3" providerId="LiveId" clId="{C37E6FE4-15B9-445D-9A12-9B3805BC54CA}" dt="2021-05-26T05:34:23.726" v="914" actId="20577"/>
        <pc:sldMkLst>
          <pc:docMk/>
          <pc:sldMk cId="26917896" sldId="2203"/>
        </pc:sldMkLst>
        <pc:spChg chg="mod">
          <ac:chgData name="Aurelien Domont" userId="6da7715ce44349b3" providerId="LiveId" clId="{C37E6FE4-15B9-445D-9A12-9B3805BC54CA}" dt="2021-05-26T05:34:23.726" v="914" actId="20577"/>
          <ac:spMkLst>
            <pc:docMk/>
            <pc:sldMk cId="26917896" sldId="2203"/>
            <ac:spMk id="16" creationId="{6C2BB713-9637-4B9B-938F-E9768876782A}"/>
          </ac:spMkLst>
        </pc:spChg>
      </pc:sldChg>
      <pc:sldChg chg="addSp modSp add mod">
        <pc:chgData name="Aurelien Domont" userId="6da7715ce44349b3" providerId="LiveId" clId="{C37E6FE4-15B9-445D-9A12-9B3805BC54CA}" dt="2021-05-26T05:37:43.911" v="1171" actId="20577"/>
        <pc:sldMkLst>
          <pc:docMk/>
          <pc:sldMk cId="3260603161" sldId="2204"/>
        </pc:sldMkLst>
        <pc:spChg chg="mod">
          <ac:chgData name="Aurelien Domont" userId="6da7715ce44349b3" providerId="LiveId" clId="{C37E6FE4-15B9-445D-9A12-9B3805BC54CA}" dt="2021-05-26T05:37:43.911" v="1171" actId="20577"/>
          <ac:spMkLst>
            <pc:docMk/>
            <pc:sldMk cId="3260603161" sldId="2204"/>
            <ac:spMk id="17" creationId="{04528831-2C34-48CB-B79E-30696FB22302}"/>
          </ac:spMkLst>
        </pc:spChg>
        <pc:spChg chg="mod">
          <ac:chgData name="Aurelien Domont" userId="6da7715ce44349b3" providerId="LiveId" clId="{C37E6FE4-15B9-445D-9A12-9B3805BC54CA}" dt="2021-05-26T05:36:17.393" v="990" actId="20577"/>
          <ac:spMkLst>
            <pc:docMk/>
            <pc:sldMk cId="3260603161" sldId="2204"/>
            <ac:spMk id="27" creationId="{3C7BF620-7666-4029-874D-B6D841967A7E}"/>
          </ac:spMkLst>
        </pc:spChg>
        <pc:spChg chg="add mod">
          <ac:chgData name="Aurelien Domont" userId="6da7715ce44349b3" providerId="LiveId" clId="{C37E6FE4-15B9-445D-9A12-9B3805BC54CA}" dt="2021-05-26T05:35:33.826" v="917" actId="1076"/>
          <ac:spMkLst>
            <pc:docMk/>
            <pc:sldMk cId="3260603161" sldId="2204"/>
            <ac:spMk id="32" creationId="{A0CC9A0C-D866-4E23-8A91-7EBE416F27B1}"/>
          </ac:spMkLst>
        </pc:spChg>
      </pc:sldChg>
      <pc:sldChg chg="modSp add mod">
        <pc:chgData name="Aurelien Domont" userId="6da7715ce44349b3" providerId="LiveId" clId="{C37E6FE4-15B9-445D-9A12-9B3805BC54CA}" dt="2021-05-27T01:52:03.952" v="1948" actId="20577"/>
        <pc:sldMkLst>
          <pc:docMk/>
          <pc:sldMk cId="2836562888" sldId="2205"/>
        </pc:sldMkLst>
        <pc:spChg chg="mod">
          <ac:chgData name="Aurelien Domont" userId="6da7715ce44349b3" providerId="LiveId" clId="{C37E6FE4-15B9-445D-9A12-9B3805BC54CA}" dt="2021-05-27T01:52:01.049" v="1946" actId="1036"/>
          <ac:spMkLst>
            <pc:docMk/>
            <pc:sldMk cId="2836562888" sldId="2205"/>
            <ac:spMk id="15" creationId="{7F7B73D2-A592-459F-AABD-FF843772DAB3}"/>
          </ac:spMkLst>
        </pc:spChg>
        <pc:spChg chg="mod">
          <ac:chgData name="Aurelien Domont" userId="6da7715ce44349b3" providerId="LiveId" clId="{C37E6FE4-15B9-445D-9A12-9B3805BC54CA}" dt="2021-05-27T01:52:03.952" v="1948" actId="20577"/>
          <ac:spMkLst>
            <pc:docMk/>
            <pc:sldMk cId="2836562888" sldId="2205"/>
            <ac:spMk id="16" creationId="{6C2BB713-9637-4B9B-938F-E9768876782A}"/>
          </ac:spMkLst>
        </pc:spChg>
        <pc:spChg chg="mod">
          <ac:chgData name="Aurelien Domont" userId="6da7715ce44349b3" providerId="LiveId" clId="{C37E6FE4-15B9-445D-9A12-9B3805BC54CA}" dt="2021-05-26T06:39:15.567" v="1915"/>
          <ac:spMkLst>
            <pc:docMk/>
            <pc:sldMk cId="2836562888" sldId="2205"/>
            <ac:spMk id="27" creationId="{BE7FA4F0-3C49-4DE0-BDCC-49225B7F31CF}"/>
          </ac:spMkLst>
        </pc:spChg>
        <pc:spChg chg="mod">
          <ac:chgData name="Aurelien Domont" userId="6da7715ce44349b3" providerId="LiveId" clId="{C37E6FE4-15B9-445D-9A12-9B3805BC54CA}" dt="2021-05-27T01:51:54.966" v="1927"/>
          <ac:spMkLst>
            <pc:docMk/>
            <pc:sldMk cId="2836562888" sldId="2205"/>
            <ac:spMk id="29" creationId="{EBEF7E50-77EE-4FFC-9C8F-5F1C532B51AE}"/>
          </ac:spMkLst>
        </pc:spChg>
      </pc:sldChg>
      <pc:sldChg chg="add">
        <pc:chgData name="Aurelien Domont" userId="6da7715ce44349b3" providerId="LiveId" clId="{C37E6FE4-15B9-445D-9A12-9B3805BC54CA}" dt="2021-05-26T05:40:43.621" v="1209"/>
        <pc:sldMkLst>
          <pc:docMk/>
          <pc:sldMk cId="3280891638" sldId="2206"/>
        </pc:sldMkLst>
      </pc:sldChg>
      <pc:sldChg chg="modSp add mod">
        <pc:chgData name="Aurelien Domont" userId="6da7715ce44349b3" providerId="LiveId" clId="{C37E6FE4-15B9-445D-9A12-9B3805BC54CA}" dt="2021-05-26T05:43:21.897" v="1405" actId="20577"/>
        <pc:sldMkLst>
          <pc:docMk/>
          <pc:sldMk cId="216224630" sldId="2207"/>
        </pc:sldMkLst>
        <pc:spChg chg="mod">
          <ac:chgData name="Aurelien Domont" userId="6da7715ce44349b3" providerId="LiveId" clId="{C37E6FE4-15B9-445D-9A12-9B3805BC54CA}" dt="2021-05-26T05:43:21.897" v="1405" actId="20577"/>
          <ac:spMkLst>
            <pc:docMk/>
            <pc:sldMk cId="216224630" sldId="2207"/>
            <ac:spMk id="17" creationId="{04528831-2C34-48CB-B79E-30696FB22302}"/>
          </ac:spMkLst>
        </pc:spChg>
        <pc:spChg chg="mod">
          <ac:chgData name="Aurelien Domont" userId="6da7715ce44349b3" providerId="LiveId" clId="{C37E6FE4-15B9-445D-9A12-9B3805BC54CA}" dt="2021-05-26T05:41:37.766" v="1244" actId="20577"/>
          <ac:spMkLst>
            <pc:docMk/>
            <pc:sldMk cId="216224630" sldId="2207"/>
            <ac:spMk id="27" creationId="{3C7BF620-7666-4029-874D-B6D841967A7E}"/>
          </ac:spMkLst>
        </pc:spChg>
        <pc:spChg chg="mod">
          <ac:chgData name="Aurelien Domont" userId="6da7715ce44349b3" providerId="LiveId" clId="{C37E6FE4-15B9-445D-9A12-9B3805BC54CA}" dt="2021-05-26T05:42:54.127" v="1368" actId="1076"/>
          <ac:spMkLst>
            <pc:docMk/>
            <pc:sldMk cId="216224630" sldId="2207"/>
            <ac:spMk id="32" creationId="{2985E824-28DA-4C72-AD81-03DE83F3B9AF}"/>
          </ac:spMkLst>
        </pc:spChg>
      </pc:sldChg>
      <pc:sldChg chg="addSp delSp modSp add mod">
        <pc:chgData name="Aurelien Domont" userId="6da7715ce44349b3" providerId="LiveId" clId="{C37E6FE4-15B9-445D-9A12-9B3805BC54CA}" dt="2021-05-27T02:03:16.980" v="2475" actId="20577"/>
        <pc:sldMkLst>
          <pc:docMk/>
          <pc:sldMk cId="3667406482" sldId="2208"/>
        </pc:sldMkLst>
        <pc:spChg chg="add del mod">
          <ac:chgData name="Aurelien Domont" userId="6da7715ce44349b3" providerId="LiveId" clId="{C37E6FE4-15B9-445D-9A12-9B3805BC54CA}" dt="2021-05-27T02:03:16.980" v="2475" actId="20577"/>
          <ac:spMkLst>
            <pc:docMk/>
            <pc:sldMk cId="3667406482" sldId="2208"/>
            <ac:spMk id="20" creationId="{D88841C8-0622-4D05-91CE-25B9A2AD78F2}"/>
          </ac:spMkLst>
        </pc:spChg>
        <pc:spChg chg="add del mod">
          <ac:chgData name="Aurelien Domont" userId="6da7715ce44349b3" providerId="LiveId" clId="{C37E6FE4-15B9-445D-9A12-9B3805BC54CA}" dt="2021-05-27T01:56:11.659" v="1989" actId="478"/>
          <ac:spMkLst>
            <pc:docMk/>
            <pc:sldMk cId="3667406482" sldId="2208"/>
            <ac:spMk id="21" creationId="{A25D5438-BDA2-4A2D-A77A-2531C8093AF1}"/>
          </ac:spMkLst>
        </pc:spChg>
        <pc:spChg chg="mod">
          <ac:chgData name="Aurelien Domont" userId="6da7715ce44349b3" providerId="LiveId" clId="{C37E6FE4-15B9-445D-9A12-9B3805BC54CA}" dt="2021-05-26T05:45:15.922" v="1495" actId="20577"/>
          <ac:spMkLst>
            <pc:docMk/>
            <pc:sldMk cId="3667406482" sldId="2208"/>
            <ac:spMk id="28" creationId="{B7AD5AAA-5B0A-454F-9E98-C6AB3FAFE03D}"/>
          </ac:spMkLst>
        </pc:spChg>
        <pc:spChg chg="mod">
          <ac:chgData name="Aurelien Domont" userId="6da7715ce44349b3" providerId="LiveId" clId="{C37E6FE4-15B9-445D-9A12-9B3805BC54CA}" dt="2021-05-26T05:46:10.239" v="1616" actId="20577"/>
          <ac:spMkLst>
            <pc:docMk/>
            <pc:sldMk cId="3667406482" sldId="2208"/>
            <ac:spMk id="29" creationId="{079FEA49-7CB4-4A76-A672-10780D1F23BD}"/>
          </ac:spMkLst>
        </pc:spChg>
        <pc:spChg chg="mod">
          <ac:chgData name="Aurelien Domont" userId="6da7715ce44349b3" providerId="LiveId" clId="{C37E6FE4-15B9-445D-9A12-9B3805BC54CA}" dt="2021-05-26T05:49:00.961" v="1816" actId="20577"/>
          <ac:spMkLst>
            <pc:docMk/>
            <pc:sldMk cId="3667406482" sldId="2208"/>
            <ac:spMk id="30" creationId="{B0F8F8BA-3E53-4948-961C-570F4E85705B}"/>
          </ac:spMkLst>
        </pc:spChg>
        <pc:spChg chg="mod">
          <ac:chgData name="Aurelien Domont" userId="6da7715ce44349b3" providerId="LiveId" clId="{C37E6FE4-15B9-445D-9A12-9B3805BC54CA}" dt="2021-05-26T05:47:12.884" v="1710" actId="20577"/>
          <ac:spMkLst>
            <pc:docMk/>
            <pc:sldMk cId="3667406482" sldId="2208"/>
            <ac:spMk id="31" creationId="{1648052F-E528-4599-BFF8-0F6DEC3611B8}"/>
          </ac:spMkLst>
        </pc:spChg>
      </pc:sldChg>
      <pc:sldChg chg="addSp delSp modSp add mod">
        <pc:chgData name="Aurelien Domont" userId="6da7715ce44349b3" providerId="LiveId" clId="{C37E6FE4-15B9-445D-9A12-9B3805BC54CA}" dt="2021-05-27T01:54:29.563" v="1984" actId="167"/>
        <pc:sldMkLst>
          <pc:docMk/>
          <pc:sldMk cId="2580746334" sldId="2209"/>
        </pc:sldMkLst>
        <pc:graphicFrameChg chg="del">
          <ac:chgData name="Aurelien Domont" userId="6da7715ce44349b3" providerId="LiveId" clId="{C37E6FE4-15B9-445D-9A12-9B3805BC54CA}" dt="2021-05-27T01:53:56.451" v="1979" actId="478"/>
          <ac:graphicFrameMkLst>
            <pc:docMk/>
            <pc:sldMk cId="2580746334" sldId="2209"/>
            <ac:graphicFrameMk id="5" creationId="{EC9A5040-7A95-43F9-B671-0F0285DEB5DD}"/>
          </ac:graphicFrameMkLst>
        </pc:graphicFrameChg>
        <pc:graphicFrameChg chg="add mod ord">
          <ac:chgData name="Aurelien Domont" userId="6da7715ce44349b3" providerId="LiveId" clId="{C37E6FE4-15B9-445D-9A12-9B3805BC54CA}" dt="2021-05-27T01:54:29.563" v="1984" actId="167"/>
          <ac:graphicFrameMkLst>
            <pc:docMk/>
            <pc:sldMk cId="2580746334" sldId="2209"/>
            <ac:graphicFrameMk id="9" creationId="{B06E3370-8D08-4B1E-96A3-0B14EAB1D61D}"/>
          </ac:graphicFrameMkLst>
        </pc:graphicFrameChg>
      </pc:sldChg>
      <pc:sldChg chg="add">
        <pc:chgData name="Aurelien Domont" userId="6da7715ce44349b3" providerId="LiveId" clId="{C37E6FE4-15B9-445D-9A12-9B3805BC54CA}" dt="2021-05-26T05:58:29.563" v="1879"/>
        <pc:sldMkLst>
          <pc:docMk/>
          <pc:sldMk cId="2516775586" sldId="2210"/>
        </pc:sldMkLst>
      </pc:sldChg>
      <pc:sldChg chg="add">
        <pc:chgData name="Aurelien Domont" userId="6da7715ce44349b3" providerId="LiveId" clId="{C37E6FE4-15B9-445D-9A12-9B3805BC54CA}" dt="2021-05-26T06:00:14.565" v="1881"/>
        <pc:sldMkLst>
          <pc:docMk/>
          <pc:sldMk cId="708349765" sldId="2211"/>
        </pc:sldMkLst>
      </pc:sldChg>
      <pc:sldChg chg="add">
        <pc:chgData name="Aurelien Domont" userId="6da7715ce44349b3" providerId="LiveId" clId="{C37E6FE4-15B9-445D-9A12-9B3805BC54CA}" dt="2021-05-27T01:52:25.416" v="1949"/>
        <pc:sldMkLst>
          <pc:docMk/>
          <pc:sldMk cId="4078257987" sldId="2212"/>
        </pc:sldMkLst>
      </pc:sldChg>
      <pc:sldChg chg="addSp delSp modSp add mod">
        <pc:chgData name="Aurelien Domont" userId="6da7715ce44349b3" providerId="LiveId" clId="{C37E6FE4-15B9-445D-9A12-9B3805BC54CA}" dt="2021-05-27T01:53:33.551" v="1977" actId="478"/>
        <pc:sldMkLst>
          <pc:docMk/>
          <pc:sldMk cId="987926823" sldId="2213"/>
        </pc:sldMkLst>
        <pc:spChg chg="add mod">
          <ac:chgData name="Aurelien Domont" userId="6da7715ce44349b3" providerId="LiveId" clId="{C37E6FE4-15B9-445D-9A12-9B3805BC54CA}" dt="2021-05-27T01:53:10.202" v="1976" actId="20577"/>
          <ac:spMkLst>
            <pc:docMk/>
            <pc:sldMk cId="987926823" sldId="2213"/>
            <ac:spMk id="6" creationId="{FC764768-86EE-4D8D-82BE-8E38AA5235CF}"/>
          </ac:spMkLst>
        </pc:spChg>
        <pc:spChg chg="add del mod">
          <ac:chgData name="Aurelien Domont" userId="6da7715ce44349b3" providerId="LiveId" clId="{C37E6FE4-15B9-445D-9A12-9B3805BC54CA}" dt="2021-05-27T01:53:33.551" v="1977" actId="478"/>
          <ac:spMkLst>
            <pc:docMk/>
            <pc:sldMk cId="987926823" sldId="2213"/>
            <ac:spMk id="7" creationId="{5EF46614-38E2-442A-AC79-7DD3DDCCD63E}"/>
          </ac:spMkLst>
        </pc:spChg>
      </pc:sldChg>
      <pc:sldChg chg="add">
        <pc:chgData name="Aurelien Domont" userId="6da7715ce44349b3" providerId="LiveId" clId="{C37E6FE4-15B9-445D-9A12-9B3805BC54CA}" dt="2021-05-27T01:52:25.416" v="1949"/>
        <pc:sldMkLst>
          <pc:docMk/>
          <pc:sldMk cId="2829018850" sldId="2214"/>
        </pc:sldMkLst>
      </pc:sldChg>
      <pc:sldChg chg="delSp add mod">
        <pc:chgData name="Aurelien Domont" userId="6da7715ce44349b3" providerId="LiveId" clId="{C37E6FE4-15B9-445D-9A12-9B3805BC54CA}" dt="2021-05-27T01:56:09.044" v="1988" actId="478"/>
        <pc:sldMkLst>
          <pc:docMk/>
          <pc:sldMk cId="2903145634" sldId="2215"/>
        </pc:sldMkLst>
        <pc:spChg chg="del">
          <ac:chgData name="Aurelien Domont" userId="6da7715ce44349b3" providerId="LiveId" clId="{C37E6FE4-15B9-445D-9A12-9B3805BC54CA}" dt="2021-05-27T01:56:09.044" v="1988" actId="478"/>
          <ac:spMkLst>
            <pc:docMk/>
            <pc:sldMk cId="2903145634" sldId="2215"/>
            <ac:spMk id="21" creationId="{A25D5438-BDA2-4A2D-A77A-2531C8093AF1}"/>
          </ac:spMkLst>
        </pc:spChg>
      </pc:sldChg>
    </pc:docChg>
  </pc:docChgLst>
  <pc:docChgLst>
    <pc:chgData name="Aurelien Domont" userId="6da7715ce44349b3" providerId="LiveId" clId="{E6277905-FCCE-4B88-BAD6-C5854D60B696}"/>
    <pc:docChg chg="undo redo custSel addSld delSld modSld">
      <pc:chgData name="Aurelien Domont" userId="6da7715ce44349b3" providerId="LiveId" clId="{E6277905-FCCE-4B88-BAD6-C5854D60B696}" dt="2021-05-19T07:21:25.037" v="1775" actId="313"/>
      <pc:docMkLst>
        <pc:docMk/>
      </pc:docMkLst>
      <pc:sldChg chg="addSp delSp modSp mod">
        <pc:chgData name="Aurelien Domont" userId="6da7715ce44349b3" providerId="LiveId" clId="{E6277905-FCCE-4B88-BAD6-C5854D60B696}" dt="2021-05-19T07:19:08.012" v="1774" actId="1076"/>
        <pc:sldMkLst>
          <pc:docMk/>
          <pc:sldMk cId="3131901387" sldId="256"/>
        </pc:sldMkLst>
        <pc:spChg chg="mod">
          <ac:chgData name="Aurelien Domont" userId="6da7715ce44349b3" providerId="LiveId" clId="{E6277905-FCCE-4B88-BAD6-C5854D60B696}" dt="2021-05-18T05:40:48.610" v="19" actId="20577"/>
          <ac:spMkLst>
            <pc:docMk/>
            <pc:sldMk cId="3131901387" sldId="256"/>
            <ac:spMk id="2" creationId="{5261080C-C60C-4746-B6B1-A9A4FFA86785}"/>
          </ac:spMkLst>
        </pc:spChg>
        <pc:picChg chg="add del">
          <ac:chgData name="Aurelien Domont" userId="6da7715ce44349b3" providerId="LiveId" clId="{E6277905-FCCE-4B88-BAD6-C5854D60B696}" dt="2021-05-19T07:00:28.700" v="1158" actId="478"/>
          <ac:picMkLst>
            <pc:docMk/>
            <pc:sldMk cId="3131901387" sldId="256"/>
            <ac:picMk id="13" creationId="{6E38BFE1-56A4-4E55-BEE6-88950EB7A801}"/>
          </ac:picMkLst>
        </pc:picChg>
        <pc:picChg chg="add mod">
          <ac:chgData name="Aurelien Domont" userId="6da7715ce44349b3" providerId="LiveId" clId="{E6277905-FCCE-4B88-BAD6-C5854D60B696}" dt="2021-05-19T07:19:08.012" v="1774" actId="1076"/>
          <ac:picMkLst>
            <pc:docMk/>
            <pc:sldMk cId="3131901387" sldId="256"/>
            <ac:picMk id="14" creationId="{2383877E-1EA1-4685-809A-0E7CCC5CBDD3}"/>
          </ac:picMkLst>
        </pc:picChg>
      </pc:sldChg>
      <pc:sldChg chg="addSp delSp modSp mod">
        <pc:chgData name="Aurelien Domont" userId="6da7715ce44349b3" providerId="LiveId" clId="{E6277905-FCCE-4B88-BAD6-C5854D60B696}" dt="2021-05-19T07:14:32.307" v="1757" actId="20577"/>
        <pc:sldMkLst>
          <pc:docMk/>
          <pc:sldMk cId="317099162" sldId="1749"/>
        </pc:sldMkLst>
        <pc:spChg chg="add del mod">
          <ac:chgData name="Aurelien Domont" userId="6da7715ce44349b3" providerId="LiveId" clId="{E6277905-FCCE-4B88-BAD6-C5854D60B696}" dt="2021-05-19T07:02:22.898" v="1169" actId="478"/>
          <ac:spMkLst>
            <pc:docMk/>
            <pc:sldMk cId="317099162" sldId="1749"/>
            <ac:spMk id="2" creationId="{254960E3-64BC-4278-8123-6086DEE61BF9}"/>
          </ac:spMkLst>
        </pc:spChg>
        <pc:spChg chg="mod">
          <ac:chgData name="Aurelien Domont" userId="6da7715ce44349b3" providerId="LiveId" clId="{E6277905-FCCE-4B88-BAD6-C5854D60B696}" dt="2021-05-19T07:14:32.307" v="1757" actId="20577"/>
          <ac:spMkLst>
            <pc:docMk/>
            <pc:sldMk cId="317099162" sldId="1749"/>
            <ac:spMk id="14" creationId="{58BC295C-D6CC-4682-B176-A5677EB177D0}"/>
          </ac:spMkLst>
        </pc:spChg>
        <pc:spChg chg="mod">
          <ac:chgData name="Aurelien Domont" userId="6da7715ce44349b3" providerId="LiveId" clId="{E6277905-FCCE-4B88-BAD6-C5854D60B696}" dt="2021-05-19T07:02:48.675" v="1177" actId="20577"/>
          <ac:spMkLst>
            <pc:docMk/>
            <pc:sldMk cId="317099162" sldId="1749"/>
            <ac:spMk id="16" creationId="{6C2BB713-9637-4B9B-938F-E9768876782A}"/>
          </ac:spMkLst>
        </pc:spChg>
      </pc:sldChg>
      <pc:sldChg chg="del">
        <pc:chgData name="Aurelien Domont" userId="6da7715ce44349b3" providerId="LiveId" clId="{E6277905-FCCE-4B88-BAD6-C5854D60B696}" dt="2021-05-19T07:15:14.400" v="1758" actId="47"/>
        <pc:sldMkLst>
          <pc:docMk/>
          <pc:sldMk cId="3324303879" sldId="1917"/>
        </pc:sldMkLst>
      </pc:sldChg>
      <pc:sldChg chg="del">
        <pc:chgData name="Aurelien Domont" userId="6da7715ce44349b3" providerId="LiveId" clId="{E6277905-FCCE-4B88-BAD6-C5854D60B696}" dt="2021-05-19T07:02:37.038" v="1170" actId="47"/>
        <pc:sldMkLst>
          <pc:docMk/>
          <pc:sldMk cId="3738554192" sldId="1918"/>
        </pc:sldMkLst>
      </pc:sldChg>
      <pc:sldChg chg="del">
        <pc:chgData name="Aurelien Domont" userId="6da7715ce44349b3" providerId="LiveId" clId="{E6277905-FCCE-4B88-BAD6-C5854D60B696}" dt="2021-05-19T07:02:37.038" v="1170" actId="47"/>
        <pc:sldMkLst>
          <pc:docMk/>
          <pc:sldMk cId="4287792945" sldId="1919"/>
        </pc:sldMkLst>
      </pc:sldChg>
      <pc:sldChg chg="del">
        <pc:chgData name="Aurelien Domont" userId="6da7715ce44349b3" providerId="LiveId" clId="{E6277905-FCCE-4B88-BAD6-C5854D60B696}" dt="2021-05-19T07:02:37.038" v="1170" actId="47"/>
        <pc:sldMkLst>
          <pc:docMk/>
          <pc:sldMk cId="1711813648" sldId="1920"/>
        </pc:sldMkLst>
      </pc:sldChg>
      <pc:sldChg chg="del">
        <pc:chgData name="Aurelien Domont" userId="6da7715ce44349b3" providerId="LiveId" clId="{E6277905-FCCE-4B88-BAD6-C5854D60B696}" dt="2021-05-19T07:02:37.038" v="1170" actId="47"/>
        <pc:sldMkLst>
          <pc:docMk/>
          <pc:sldMk cId="1649006803" sldId="1921"/>
        </pc:sldMkLst>
      </pc:sldChg>
      <pc:sldChg chg="del">
        <pc:chgData name="Aurelien Domont" userId="6da7715ce44349b3" providerId="LiveId" clId="{E6277905-FCCE-4B88-BAD6-C5854D60B696}" dt="2021-05-19T07:02:37.038" v="1170" actId="47"/>
        <pc:sldMkLst>
          <pc:docMk/>
          <pc:sldMk cId="3022188194" sldId="1922"/>
        </pc:sldMkLst>
      </pc:sldChg>
      <pc:sldChg chg="del">
        <pc:chgData name="Aurelien Domont" userId="6da7715ce44349b3" providerId="LiveId" clId="{E6277905-FCCE-4B88-BAD6-C5854D60B696}" dt="2021-05-19T07:02:37.038" v="1170" actId="47"/>
        <pc:sldMkLst>
          <pc:docMk/>
          <pc:sldMk cId="1872329668" sldId="1923"/>
        </pc:sldMkLst>
      </pc:sldChg>
      <pc:sldChg chg="addSp delSp modSp mod">
        <pc:chgData name="Aurelien Domont" userId="6da7715ce44349b3" providerId="LiveId" clId="{E6277905-FCCE-4B88-BAD6-C5854D60B696}" dt="2021-05-19T07:21:25.037" v="1775" actId="313"/>
        <pc:sldMkLst>
          <pc:docMk/>
          <pc:sldMk cId="1659127470" sldId="1924"/>
        </pc:sldMkLst>
        <pc:spChg chg="add del mod">
          <ac:chgData name="Aurelien Domont" userId="6da7715ce44349b3" providerId="LiveId" clId="{E6277905-FCCE-4B88-BAD6-C5854D60B696}" dt="2021-05-19T06:39:27.924" v="1101" actId="478"/>
          <ac:spMkLst>
            <pc:docMk/>
            <pc:sldMk cId="1659127470" sldId="1924"/>
            <ac:spMk id="2" creationId="{8D91CEA2-A9A2-44FD-975C-6F4A2D59641D}"/>
          </ac:spMkLst>
        </pc:spChg>
        <pc:spChg chg="add del mod">
          <ac:chgData name="Aurelien Domont" userId="6da7715ce44349b3" providerId="LiveId" clId="{E6277905-FCCE-4B88-BAD6-C5854D60B696}" dt="2021-05-19T06:24:02.853" v="853" actId="478"/>
          <ac:spMkLst>
            <pc:docMk/>
            <pc:sldMk cId="1659127470" sldId="1924"/>
            <ac:spMk id="4" creationId="{1E764DDF-9638-4878-B977-C06C1B7046F5}"/>
          </ac:spMkLst>
        </pc:spChg>
        <pc:spChg chg="add del mod">
          <ac:chgData name="Aurelien Domont" userId="6da7715ce44349b3" providerId="LiveId" clId="{E6277905-FCCE-4B88-BAD6-C5854D60B696}" dt="2021-05-18T05:50:48.987" v="45" actId="478"/>
          <ac:spMkLst>
            <pc:docMk/>
            <pc:sldMk cId="1659127470" sldId="1924"/>
            <ac:spMk id="14" creationId="{1E88A16D-E54C-45FC-97FE-3A1C196DAF1A}"/>
          </ac:spMkLst>
        </pc:spChg>
        <pc:spChg chg="mod">
          <ac:chgData name="Aurelien Domont" userId="6da7715ce44349b3" providerId="LiveId" clId="{E6277905-FCCE-4B88-BAD6-C5854D60B696}" dt="2021-05-18T05:41:48.391" v="40" actId="20577"/>
          <ac:spMkLst>
            <pc:docMk/>
            <pc:sldMk cId="1659127470" sldId="1924"/>
            <ac:spMk id="16" creationId="{6C2BB713-9637-4B9B-938F-E9768876782A}"/>
          </ac:spMkLst>
        </pc:spChg>
        <pc:spChg chg="mod">
          <ac:chgData name="Aurelien Domont" userId="6da7715ce44349b3" providerId="LiveId" clId="{E6277905-FCCE-4B88-BAD6-C5854D60B696}" dt="2021-05-19T07:11:36.761" v="1694" actId="20577"/>
          <ac:spMkLst>
            <pc:docMk/>
            <pc:sldMk cId="1659127470" sldId="1924"/>
            <ac:spMk id="17" creationId="{469F466A-B940-41E3-B12F-110D72502BCE}"/>
          </ac:spMkLst>
        </pc:spChg>
        <pc:spChg chg="mod">
          <ac:chgData name="Aurelien Domont" userId="6da7715ce44349b3" providerId="LiveId" clId="{E6277905-FCCE-4B88-BAD6-C5854D60B696}" dt="2021-05-18T05:57:42.931" v="188" actId="20577"/>
          <ac:spMkLst>
            <pc:docMk/>
            <pc:sldMk cId="1659127470" sldId="1924"/>
            <ac:spMk id="20" creationId="{3A4E6A8C-908C-49FF-9BF8-90A9FC12224D}"/>
          </ac:spMkLst>
        </pc:spChg>
        <pc:spChg chg="mod">
          <ac:chgData name="Aurelien Domont" userId="6da7715ce44349b3" providerId="LiveId" clId="{E6277905-FCCE-4B88-BAD6-C5854D60B696}" dt="2021-05-19T07:11:44.329" v="1698" actId="20577"/>
          <ac:spMkLst>
            <pc:docMk/>
            <pc:sldMk cId="1659127470" sldId="1924"/>
            <ac:spMk id="21" creationId="{16FAC062-BB56-4A49-9044-4444E78429DF}"/>
          </ac:spMkLst>
        </pc:spChg>
        <pc:spChg chg="mod">
          <ac:chgData name="Aurelien Domont" userId="6da7715ce44349b3" providerId="LiveId" clId="{E6277905-FCCE-4B88-BAD6-C5854D60B696}" dt="2021-05-19T06:37:08.662" v="1088" actId="179"/>
          <ac:spMkLst>
            <pc:docMk/>
            <pc:sldMk cId="1659127470" sldId="1924"/>
            <ac:spMk id="24" creationId="{95714746-22CF-48C5-AD51-9D9AE6E5F2C8}"/>
          </ac:spMkLst>
        </pc:spChg>
        <pc:spChg chg="mod">
          <ac:chgData name="Aurelien Domont" userId="6da7715ce44349b3" providerId="LiveId" clId="{E6277905-FCCE-4B88-BAD6-C5854D60B696}" dt="2021-05-19T07:21:25.037" v="1775" actId="313"/>
          <ac:spMkLst>
            <pc:docMk/>
            <pc:sldMk cId="1659127470" sldId="1924"/>
            <ac:spMk id="25" creationId="{0B462317-12E0-4745-AFEC-1DF156C5EB17}"/>
          </ac:spMkLst>
        </pc:spChg>
        <pc:spChg chg="mod">
          <ac:chgData name="Aurelien Domont" userId="6da7715ce44349b3" providerId="LiveId" clId="{E6277905-FCCE-4B88-BAD6-C5854D60B696}" dt="2021-05-19T06:43:08.751" v="1120" actId="20577"/>
          <ac:spMkLst>
            <pc:docMk/>
            <pc:sldMk cId="1659127470" sldId="1924"/>
            <ac:spMk id="28" creationId="{46F541B2-19A4-48FE-BC36-F95AB3359448}"/>
          </ac:spMkLst>
        </pc:spChg>
        <pc:cxnChg chg="add del mod">
          <ac:chgData name="Aurelien Domont" userId="6da7715ce44349b3" providerId="LiveId" clId="{E6277905-FCCE-4B88-BAD6-C5854D60B696}" dt="2021-05-18T05:56:42.969" v="183" actId="478"/>
          <ac:cxnSpMkLst>
            <pc:docMk/>
            <pc:sldMk cId="1659127470" sldId="1924"/>
            <ac:cxnSpMk id="15" creationId="{2633E9D1-B28B-464D-8203-38A139B3D947}"/>
          </ac:cxnSpMkLst>
        </pc:cxnChg>
        <pc:cxnChg chg="add mod">
          <ac:chgData name="Aurelien Domont" userId="6da7715ce44349b3" providerId="LiveId" clId="{E6277905-FCCE-4B88-BAD6-C5854D60B696}" dt="2021-05-19T06:29:20.431" v="930" actId="1038"/>
          <ac:cxnSpMkLst>
            <pc:docMk/>
            <pc:sldMk cId="1659127470" sldId="1924"/>
            <ac:cxnSpMk id="15" creationId="{E60236D9-FA17-46A1-923E-EAFAC3847145}"/>
          </ac:cxnSpMkLst>
        </pc:cxnChg>
        <pc:cxnChg chg="mod">
          <ac:chgData name="Aurelien Domont" userId="6da7715ce44349b3" providerId="LiveId" clId="{E6277905-FCCE-4B88-BAD6-C5854D60B696}" dt="2021-05-19T06:29:17.208" v="927" actId="1037"/>
          <ac:cxnSpMkLst>
            <pc:docMk/>
            <pc:sldMk cId="1659127470" sldId="1924"/>
            <ac:cxnSpMk id="22" creationId="{8F214CF9-01D2-40DC-9D6F-DAC675E238D0}"/>
          </ac:cxnSpMkLst>
        </pc:cxnChg>
        <pc:cxnChg chg="del mod">
          <ac:chgData name="Aurelien Domont" userId="6da7715ce44349b3" providerId="LiveId" clId="{E6277905-FCCE-4B88-BAD6-C5854D60B696}" dt="2021-05-19T06:27:03.979" v="896" actId="478"/>
          <ac:cxnSpMkLst>
            <pc:docMk/>
            <pc:sldMk cId="1659127470" sldId="1924"/>
            <ac:cxnSpMk id="23" creationId="{919B0EFB-7619-4E1E-BC50-B4C9AA07AF7A}"/>
          </ac:cxnSpMkLst>
        </pc:cxnChg>
      </pc:sldChg>
      <pc:sldChg chg="addSp delSp modSp del mod">
        <pc:chgData name="Aurelien Domont" userId="6da7715ce44349b3" providerId="LiveId" clId="{E6277905-FCCE-4B88-BAD6-C5854D60B696}" dt="2021-05-19T07:18:52.520" v="1773" actId="47"/>
        <pc:sldMkLst>
          <pc:docMk/>
          <pc:sldMk cId="3274212698" sldId="1925"/>
        </pc:sldMkLst>
        <pc:spChg chg="mod">
          <ac:chgData name="Aurelien Domont" userId="6da7715ce44349b3" providerId="LiveId" clId="{E6277905-FCCE-4B88-BAD6-C5854D60B696}" dt="2021-05-19T06:43:54.964" v="1137" actId="20577"/>
          <ac:spMkLst>
            <pc:docMk/>
            <pc:sldMk cId="3274212698" sldId="1925"/>
            <ac:spMk id="2" creationId="{406113FD-AA7D-4249-90D7-70AF85BE48E1}"/>
          </ac:spMkLst>
        </pc:spChg>
        <pc:spChg chg="del">
          <ac:chgData name="Aurelien Domont" userId="6da7715ce44349b3" providerId="LiveId" clId="{E6277905-FCCE-4B88-BAD6-C5854D60B696}" dt="2021-05-19T06:44:02.951" v="1138" actId="478"/>
          <ac:spMkLst>
            <pc:docMk/>
            <pc:sldMk cId="3274212698" sldId="1925"/>
            <ac:spMk id="44" creationId="{411193A8-7FDF-4516-9582-7F8223998366}"/>
          </ac:spMkLst>
        </pc:spChg>
        <pc:spChg chg="del">
          <ac:chgData name="Aurelien Domont" userId="6da7715ce44349b3" providerId="LiveId" clId="{E6277905-FCCE-4B88-BAD6-C5854D60B696}" dt="2021-05-19T06:44:02.951" v="1138" actId="478"/>
          <ac:spMkLst>
            <pc:docMk/>
            <pc:sldMk cId="3274212698" sldId="1925"/>
            <ac:spMk id="45" creationId="{F77BF668-13F9-4E2F-B2A0-A370A4533CBC}"/>
          </ac:spMkLst>
        </pc:spChg>
        <pc:spChg chg="del">
          <ac:chgData name="Aurelien Domont" userId="6da7715ce44349b3" providerId="LiveId" clId="{E6277905-FCCE-4B88-BAD6-C5854D60B696}" dt="2021-05-19T06:44:02.951" v="1138" actId="478"/>
          <ac:spMkLst>
            <pc:docMk/>
            <pc:sldMk cId="3274212698" sldId="1925"/>
            <ac:spMk id="46" creationId="{8E933AF5-28A9-4624-8233-36924701A2D3}"/>
          </ac:spMkLst>
        </pc:spChg>
        <pc:spChg chg="del">
          <ac:chgData name="Aurelien Domont" userId="6da7715ce44349b3" providerId="LiveId" clId="{E6277905-FCCE-4B88-BAD6-C5854D60B696}" dt="2021-05-19T06:44:02.951" v="1138" actId="478"/>
          <ac:spMkLst>
            <pc:docMk/>
            <pc:sldMk cId="3274212698" sldId="1925"/>
            <ac:spMk id="47" creationId="{514BD66A-7DFE-4DC0-BD92-3FE6154D10AE}"/>
          </ac:spMkLst>
        </pc:spChg>
        <pc:spChg chg="del">
          <ac:chgData name="Aurelien Domont" userId="6da7715ce44349b3" providerId="LiveId" clId="{E6277905-FCCE-4B88-BAD6-C5854D60B696}" dt="2021-05-19T06:44:02.951" v="1138" actId="478"/>
          <ac:spMkLst>
            <pc:docMk/>
            <pc:sldMk cId="3274212698" sldId="1925"/>
            <ac:spMk id="48" creationId="{A74BC356-AD5C-4CE9-BA6C-95605462BF66}"/>
          </ac:spMkLst>
        </pc:spChg>
        <pc:spChg chg="del">
          <ac:chgData name="Aurelien Domont" userId="6da7715ce44349b3" providerId="LiveId" clId="{E6277905-FCCE-4B88-BAD6-C5854D60B696}" dt="2021-05-19T06:44:02.951" v="1138" actId="478"/>
          <ac:spMkLst>
            <pc:docMk/>
            <pc:sldMk cId="3274212698" sldId="1925"/>
            <ac:spMk id="49" creationId="{B43642D1-F386-4B4A-9CC3-A7E2404701A0}"/>
          </ac:spMkLst>
        </pc:spChg>
        <pc:spChg chg="del">
          <ac:chgData name="Aurelien Domont" userId="6da7715ce44349b3" providerId="LiveId" clId="{E6277905-FCCE-4B88-BAD6-C5854D60B696}" dt="2021-05-19T06:44:02.951" v="1138" actId="478"/>
          <ac:spMkLst>
            <pc:docMk/>
            <pc:sldMk cId="3274212698" sldId="1925"/>
            <ac:spMk id="50" creationId="{90107E7F-DBC3-49BD-8C62-6977301018C8}"/>
          </ac:spMkLst>
        </pc:spChg>
        <pc:spChg chg="del">
          <ac:chgData name="Aurelien Domont" userId="6da7715ce44349b3" providerId="LiveId" clId="{E6277905-FCCE-4B88-BAD6-C5854D60B696}" dt="2021-05-19T06:44:02.951" v="1138" actId="478"/>
          <ac:spMkLst>
            <pc:docMk/>
            <pc:sldMk cId="3274212698" sldId="1925"/>
            <ac:spMk id="59" creationId="{17CFC19B-CFD4-4FBA-8E77-47ED02F3E8D3}"/>
          </ac:spMkLst>
        </pc:spChg>
        <pc:spChg chg="del">
          <ac:chgData name="Aurelien Domont" userId="6da7715ce44349b3" providerId="LiveId" clId="{E6277905-FCCE-4B88-BAD6-C5854D60B696}" dt="2021-05-19T06:44:02.951" v="1138" actId="478"/>
          <ac:spMkLst>
            <pc:docMk/>
            <pc:sldMk cId="3274212698" sldId="1925"/>
            <ac:spMk id="60" creationId="{695C4FA9-2B8E-4FB8-93E0-7A02320B5483}"/>
          </ac:spMkLst>
        </pc:spChg>
        <pc:spChg chg="del">
          <ac:chgData name="Aurelien Domont" userId="6da7715ce44349b3" providerId="LiveId" clId="{E6277905-FCCE-4B88-BAD6-C5854D60B696}" dt="2021-05-19T06:44:02.951" v="1138" actId="478"/>
          <ac:spMkLst>
            <pc:docMk/>
            <pc:sldMk cId="3274212698" sldId="1925"/>
            <ac:spMk id="61" creationId="{F4E5E171-5D7F-4FAF-93CF-CB62F4A1F2E9}"/>
          </ac:spMkLst>
        </pc:spChg>
        <pc:spChg chg="del">
          <ac:chgData name="Aurelien Domont" userId="6da7715ce44349b3" providerId="LiveId" clId="{E6277905-FCCE-4B88-BAD6-C5854D60B696}" dt="2021-05-19T06:44:02.951" v="1138" actId="478"/>
          <ac:spMkLst>
            <pc:docMk/>
            <pc:sldMk cId="3274212698" sldId="1925"/>
            <ac:spMk id="62" creationId="{CD05CB2E-DBDA-4A1B-94E2-D867171F59FE}"/>
          </ac:spMkLst>
        </pc:spChg>
        <pc:spChg chg="del">
          <ac:chgData name="Aurelien Domont" userId="6da7715ce44349b3" providerId="LiveId" clId="{E6277905-FCCE-4B88-BAD6-C5854D60B696}" dt="2021-05-19T06:44:02.951" v="1138" actId="478"/>
          <ac:spMkLst>
            <pc:docMk/>
            <pc:sldMk cId="3274212698" sldId="1925"/>
            <ac:spMk id="63" creationId="{470F2536-F17A-4FD5-86E3-1E1195927B69}"/>
          </ac:spMkLst>
        </pc:spChg>
        <pc:spChg chg="del">
          <ac:chgData name="Aurelien Domont" userId="6da7715ce44349b3" providerId="LiveId" clId="{E6277905-FCCE-4B88-BAD6-C5854D60B696}" dt="2021-05-19T06:44:02.951" v="1138" actId="478"/>
          <ac:spMkLst>
            <pc:docMk/>
            <pc:sldMk cId="3274212698" sldId="1925"/>
            <ac:spMk id="64" creationId="{3E229F8E-1ADC-441D-9585-3A2C8AD31EE1}"/>
          </ac:spMkLst>
        </pc:spChg>
        <pc:spChg chg="del">
          <ac:chgData name="Aurelien Domont" userId="6da7715ce44349b3" providerId="LiveId" clId="{E6277905-FCCE-4B88-BAD6-C5854D60B696}" dt="2021-05-19T06:44:02.951" v="1138" actId="478"/>
          <ac:spMkLst>
            <pc:docMk/>
            <pc:sldMk cId="3274212698" sldId="1925"/>
            <ac:spMk id="65" creationId="{582A4E88-3E6E-4B57-9921-2E01D1CB84B1}"/>
          </ac:spMkLst>
        </pc:spChg>
        <pc:spChg chg="del">
          <ac:chgData name="Aurelien Domont" userId="6da7715ce44349b3" providerId="LiveId" clId="{E6277905-FCCE-4B88-BAD6-C5854D60B696}" dt="2021-05-19T06:44:02.951" v="1138" actId="478"/>
          <ac:spMkLst>
            <pc:docMk/>
            <pc:sldMk cId="3274212698" sldId="1925"/>
            <ac:spMk id="67" creationId="{04C18065-77FD-459E-88D7-A7F468352973}"/>
          </ac:spMkLst>
        </pc:spChg>
        <pc:spChg chg="del">
          <ac:chgData name="Aurelien Domont" userId="6da7715ce44349b3" providerId="LiveId" clId="{E6277905-FCCE-4B88-BAD6-C5854D60B696}" dt="2021-05-19T06:44:02.951" v="1138" actId="478"/>
          <ac:spMkLst>
            <pc:docMk/>
            <pc:sldMk cId="3274212698" sldId="1925"/>
            <ac:spMk id="68" creationId="{5579B3EC-9EEB-4609-8D9D-F20B76F96151}"/>
          </ac:spMkLst>
        </pc:spChg>
        <pc:spChg chg="del">
          <ac:chgData name="Aurelien Domont" userId="6da7715ce44349b3" providerId="LiveId" clId="{E6277905-FCCE-4B88-BAD6-C5854D60B696}" dt="2021-05-19T06:44:02.951" v="1138" actId="478"/>
          <ac:spMkLst>
            <pc:docMk/>
            <pc:sldMk cId="3274212698" sldId="1925"/>
            <ac:spMk id="70" creationId="{CB1C877D-16A2-4DB0-BED8-3B0FFFB64706}"/>
          </ac:spMkLst>
        </pc:spChg>
        <pc:spChg chg="del">
          <ac:chgData name="Aurelien Domont" userId="6da7715ce44349b3" providerId="LiveId" clId="{E6277905-FCCE-4B88-BAD6-C5854D60B696}" dt="2021-05-19T06:44:02.951" v="1138" actId="478"/>
          <ac:spMkLst>
            <pc:docMk/>
            <pc:sldMk cId="3274212698" sldId="1925"/>
            <ac:spMk id="71" creationId="{08230361-6FC5-4337-BAC4-7E325C461DA8}"/>
          </ac:spMkLst>
        </pc:spChg>
        <pc:spChg chg="del">
          <ac:chgData name="Aurelien Domont" userId="6da7715ce44349b3" providerId="LiveId" clId="{E6277905-FCCE-4B88-BAD6-C5854D60B696}" dt="2021-05-19T06:44:02.951" v="1138" actId="478"/>
          <ac:spMkLst>
            <pc:docMk/>
            <pc:sldMk cId="3274212698" sldId="1925"/>
            <ac:spMk id="74" creationId="{EBD37F0A-29E0-4969-B5EC-4141D2BB6320}"/>
          </ac:spMkLst>
        </pc:spChg>
        <pc:spChg chg="del">
          <ac:chgData name="Aurelien Domont" userId="6da7715ce44349b3" providerId="LiveId" clId="{E6277905-FCCE-4B88-BAD6-C5854D60B696}" dt="2021-05-19T06:44:02.951" v="1138" actId="478"/>
          <ac:spMkLst>
            <pc:docMk/>
            <pc:sldMk cId="3274212698" sldId="1925"/>
            <ac:spMk id="75" creationId="{C4AA2ACA-39B4-442C-B099-063BDA1B897F}"/>
          </ac:spMkLst>
        </pc:spChg>
        <pc:spChg chg="del">
          <ac:chgData name="Aurelien Domont" userId="6da7715ce44349b3" providerId="LiveId" clId="{E6277905-FCCE-4B88-BAD6-C5854D60B696}" dt="2021-05-19T06:44:02.951" v="1138" actId="478"/>
          <ac:spMkLst>
            <pc:docMk/>
            <pc:sldMk cId="3274212698" sldId="1925"/>
            <ac:spMk id="76" creationId="{C7E64FD9-D958-4425-99D6-C3E50B606C24}"/>
          </ac:spMkLst>
        </pc:spChg>
        <pc:spChg chg="del">
          <ac:chgData name="Aurelien Domont" userId="6da7715ce44349b3" providerId="LiveId" clId="{E6277905-FCCE-4B88-BAD6-C5854D60B696}" dt="2021-05-19T06:44:02.951" v="1138" actId="478"/>
          <ac:spMkLst>
            <pc:docMk/>
            <pc:sldMk cId="3274212698" sldId="1925"/>
            <ac:spMk id="78" creationId="{AFA816E6-1329-4FC9-8CAA-8F49CFA1DFBC}"/>
          </ac:spMkLst>
        </pc:spChg>
        <pc:spChg chg="del">
          <ac:chgData name="Aurelien Domont" userId="6da7715ce44349b3" providerId="LiveId" clId="{E6277905-FCCE-4B88-BAD6-C5854D60B696}" dt="2021-05-19T06:44:02.951" v="1138" actId="478"/>
          <ac:spMkLst>
            <pc:docMk/>
            <pc:sldMk cId="3274212698" sldId="1925"/>
            <ac:spMk id="79" creationId="{ACC84311-B402-461E-AAFC-27D36981BAB2}"/>
          </ac:spMkLst>
        </pc:spChg>
        <pc:spChg chg="add mod">
          <ac:chgData name="Aurelien Domont" userId="6da7715ce44349b3" providerId="LiveId" clId="{E6277905-FCCE-4B88-BAD6-C5854D60B696}" dt="2021-05-19T06:45:08.943" v="1139"/>
          <ac:spMkLst>
            <pc:docMk/>
            <pc:sldMk cId="3274212698" sldId="1925"/>
            <ac:spMk id="82" creationId="{6811F91F-B232-427E-8EA1-0BB3DD3C51C0}"/>
          </ac:spMkLst>
        </pc:spChg>
        <pc:spChg chg="add mod">
          <ac:chgData name="Aurelien Domont" userId="6da7715ce44349b3" providerId="LiveId" clId="{E6277905-FCCE-4B88-BAD6-C5854D60B696}" dt="2021-05-19T06:45:08.943" v="1139"/>
          <ac:spMkLst>
            <pc:docMk/>
            <pc:sldMk cId="3274212698" sldId="1925"/>
            <ac:spMk id="83" creationId="{AAC49384-107F-45CD-909C-F6FDB30DF078}"/>
          </ac:spMkLst>
        </pc:spChg>
        <pc:spChg chg="add mod">
          <ac:chgData name="Aurelien Domont" userId="6da7715ce44349b3" providerId="LiveId" clId="{E6277905-FCCE-4B88-BAD6-C5854D60B696}" dt="2021-05-19T06:45:08.943" v="1139"/>
          <ac:spMkLst>
            <pc:docMk/>
            <pc:sldMk cId="3274212698" sldId="1925"/>
            <ac:spMk id="84" creationId="{888D5CDC-366F-4498-8F92-1BA9C0FD9FB3}"/>
          </ac:spMkLst>
        </pc:spChg>
        <pc:spChg chg="add mod">
          <ac:chgData name="Aurelien Domont" userId="6da7715ce44349b3" providerId="LiveId" clId="{E6277905-FCCE-4B88-BAD6-C5854D60B696}" dt="2021-05-19T06:45:08.943" v="1139"/>
          <ac:spMkLst>
            <pc:docMk/>
            <pc:sldMk cId="3274212698" sldId="1925"/>
            <ac:spMk id="85" creationId="{0E16496C-7686-4070-9D81-F36A72936A6A}"/>
          </ac:spMkLst>
        </pc:spChg>
        <pc:spChg chg="add mod">
          <ac:chgData name="Aurelien Domont" userId="6da7715ce44349b3" providerId="LiveId" clId="{E6277905-FCCE-4B88-BAD6-C5854D60B696}" dt="2021-05-19T06:45:08.943" v="1139"/>
          <ac:spMkLst>
            <pc:docMk/>
            <pc:sldMk cId="3274212698" sldId="1925"/>
            <ac:spMk id="86" creationId="{127F6FD2-4304-4DFA-A08B-BB3C214889AF}"/>
          </ac:spMkLst>
        </pc:spChg>
        <pc:spChg chg="add mod">
          <ac:chgData name="Aurelien Domont" userId="6da7715ce44349b3" providerId="LiveId" clId="{E6277905-FCCE-4B88-BAD6-C5854D60B696}" dt="2021-05-19T06:45:08.943" v="1139"/>
          <ac:spMkLst>
            <pc:docMk/>
            <pc:sldMk cId="3274212698" sldId="1925"/>
            <ac:spMk id="87" creationId="{A71BA3C2-E523-4189-B411-ED11F9ECB38B}"/>
          </ac:spMkLst>
        </pc:spChg>
        <pc:spChg chg="add mod">
          <ac:chgData name="Aurelien Domont" userId="6da7715ce44349b3" providerId="LiveId" clId="{E6277905-FCCE-4B88-BAD6-C5854D60B696}" dt="2021-05-19T06:45:08.943" v="1139"/>
          <ac:spMkLst>
            <pc:docMk/>
            <pc:sldMk cId="3274212698" sldId="1925"/>
            <ac:spMk id="88" creationId="{766A1229-361F-44BF-89FD-2D51ADB3BA94}"/>
          </ac:spMkLst>
        </pc:spChg>
        <pc:spChg chg="mod">
          <ac:chgData name="Aurelien Domont" userId="6da7715ce44349b3" providerId="LiveId" clId="{E6277905-FCCE-4B88-BAD6-C5854D60B696}" dt="2021-05-19T06:45:08.943" v="1139"/>
          <ac:spMkLst>
            <pc:docMk/>
            <pc:sldMk cId="3274212698" sldId="1925"/>
            <ac:spMk id="90" creationId="{52FECA04-FE94-4CD4-A547-117453F9F109}"/>
          </ac:spMkLst>
        </pc:spChg>
        <pc:spChg chg="mod">
          <ac:chgData name="Aurelien Domont" userId="6da7715ce44349b3" providerId="LiveId" clId="{E6277905-FCCE-4B88-BAD6-C5854D60B696}" dt="2021-05-19T06:45:08.943" v="1139"/>
          <ac:spMkLst>
            <pc:docMk/>
            <pc:sldMk cId="3274212698" sldId="1925"/>
            <ac:spMk id="91" creationId="{A372959C-3AFF-472F-8D6F-FCBBC776AA53}"/>
          </ac:spMkLst>
        </pc:spChg>
        <pc:spChg chg="mod">
          <ac:chgData name="Aurelien Domont" userId="6da7715ce44349b3" providerId="LiveId" clId="{E6277905-FCCE-4B88-BAD6-C5854D60B696}" dt="2021-05-19T06:45:08.943" v="1139"/>
          <ac:spMkLst>
            <pc:docMk/>
            <pc:sldMk cId="3274212698" sldId="1925"/>
            <ac:spMk id="92" creationId="{1F420D8E-C094-4A16-97C1-B7ADE0D46800}"/>
          </ac:spMkLst>
        </pc:spChg>
        <pc:spChg chg="add mod">
          <ac:chgData name="Aurelien Domont" userId="6da7715ce44349b3" providerId="LiveId" clId="{E6277905-FCCE-4B88-BAD6-C5854D60B696}" dt="2021-05-19T06:45:08.943" v="1139"/>
          <ac:spMkLst>
            <pc:docMk/>
            <pc:sldMk cId="3274212698" sldId="1925"/>
            <ac:spMk id="97" creationId="{E770489E-EA82-4CFA-B698-A7C53ADB8BC7}"/>
          </ac:spMkLst>
        </pc:spChg>
        <pc:spChg chg="add mod">
          <ac:chgData name="Aurelien Domont" userId="6da7715ce44349b3" providerId="LiveId" clId="{E6277905-FCCE-4B88-BAD6-C5854D60B696}" dt="2021-05-19T06:45:08.943" v="1139"/>
          <ac:spMkLst>
            <pc:docMk/>
            <pc:sldMk cId="3274212698" sldId="1925"/>
            <ac:spMk id="98" creationId="{12447D7D-E5EE-4686-A7DF-7DCA86978787}"/>
          </ac:spMkLst>
        </pc:spChg>
        <pc:spChg chg="add mod">
          <ac:chgData name="Aurelien Domont" userId="6da7715ce44349b3" providerId="LiveId" clId="{E6277905-FCCE-4B88-BAD6-C5854D60B696}" dt="2021-05-19T06:45:08.943" v="1139"/>
          <ac:spMkLst>
            <pc:docMk/>
            <pc:sldMk cId="3274212698" sldId="1925"/>
            <ac:spMk id="99" creationId="{B7374880-E0FF-410F-9F48-D2CDE07B8105}"/>
          </ac:spMkLst>
        </pc:spChg>
        <pc:spChg chg="add mod">
          <ac:chgData name="Aurelien Domont" userId="6da7715ce44349b3" providerId="LiveId" clId="{E6277905-FCCE-4B88-BAD6-C5854D60B696}" dt="2021-05-19T06:45:08.943" v="1139"/>
          <ac:spMkLst>
            <pc:docMk/>
            <pc:sldMk cId="3274212698" sldId="1925"/>
            <ac:spMk id="100" creationId="{76415466-16C6-4662-8EB0-14B506132EBB}"/>
          </ac:spMkLst>
        </pc:spChg>
        <pc:spChg chg="add mod">
          <ac:chgData name="Aurelien Domont" userId="6da7715ce44349b3" providerId="LiveId" clId="{E6277905-FCCE-4B88-BAD6-C5854D60B696}" dt="2021-05-19T06:45:08.943" v="1139"/>
          <ac:spMkLst>
            <pc:docMk/>
            <pc:sldMk cId="3274212698" sldId="1925"/>
            <ac:spMk id="101" creationId="{72A1A962-A60A-4408-8E61-EA23F7F3E1A1}"/>
          </ac:spMkLst>
        </pc:spChg>
        <pc:spChg chg="add mod">
          <ac:chgData name="Aurelien Domont" userId="6da7715ce44349b3" providerId="LiveId" clId="{E6277905-FCCE-4B88-BAD6-C5854D60B696}" dt="2021-05-19T06:45:08.943" v="1139"/>
          <ac:spMkLst>
            <pc:docMk/>
            <pc:sldMk cId="3274212698" sldId="1925"/>
            <ac:spMk id="102" creationId="{EB30F586-B7B6-4A72-B28B-16A4112D8796}"/>
          </ac:spMkLst>
        </pc:spChg>
        <pc:spChg chg="add mod">
          <ac:chgData name="Aurelien Domont" userId="6da7715ce44349b3" providerId="LiveId" clId="{E6277905-FCCE-4B88-BAD6-C5854D60B696}" dt="2021-05-19T06:45:08.943" v="1139"/>
          <ac:spMkLst>
            <pc:docMk/>
            <pc:sldMk cId="3274212698" sldId="1925"/>
            <ac:spMk id="103" creationId="{AA8283F7-A9A6-4E77-987A-4ADEB5C26C81}"/>
          </ac:spMkLst>
        </pc:spChg>
        <pc:spChg chg="add mod">
          <ac:chgData name="Aurelien Domont" userId="6da7715ce44349b3" providerId="LiveId" clId="{E6277905-FCCE-4B88-BAD6-C5854D60B696}" dt="2021-05-19T06:45:08.943" v="1139"/>
          <ac:spMkLst>
            <pc:docMk/>
            <pc:sldMk cId="3274212698" sldId="1925"/>
            <ac:spMk id="105" creationId="{A358FC29-7E29-44E1-A1BF-BA88F2E760B8}"/>
          </ac:spMkLst>
        </pc:spChg>
        <pc:spChg chg="add mod">
          <ac:chgData name="Aurelien Domont" userId="6da7715ce44349b3" providerId="LiveId" clId="{E6277905-FCCE-4B88-BAD6-C5854D60B696}" dt="2021-05-19T06:45:08.943" v="1139"/>
          <ac:spMkLst>
            <pc:docMk/>
            <pc:sldMk cId="3274212698" sldId="1925"/>
            <ac:spMk id="106" creationId="{FC7CAB25-A186-4536-9A49-30F317025553}"/>
          </ac:spMkLst>
        </pc:spChg>
        <pc:spChg chg="add mod">
          <ac:chgData name="Aurelien Domont" userId="6da7715ce44349b3" providerId="LiveId" clId="{E6277905-FCCE-4B88-BAD6-C5854D60B696}" dt="2021-05-19T06:45:08.943" v="1139"/>
          <ac:spMkLst>
            <pc:docMk/>
            <pc:sldMk cId="3274212698" sldId="1925"/>
            <ac:spMk id="108" creationId="{25E2FD35-ABF8-4B86-9228-17BAFB2B4F3B}"/>
          </ac:spMkLst>
        </pc:spChg>
        <pc:spChg chg="add mod">
          <ac:chgData name="Aurelien Domont" userId="6da7715ce44349b3" providerId="LiveId" clId="{E6277905-FCCE-4B88-BAD6-C5854D60B696}" dt="2021-05-19T06:45:08.943" v="1139"/>
          <ac:spMkLst>
            <pc:docMk/>
            <pc:sldMk cId="3274212698" sldId="1925"/>
            <ac:spMk id="109" creationId="{F2DC97CE-688B-4C4C-A8E8-A8E31BF663E9}"/>
          </ac:spMkLst>
        </pc:spChg>
        <pc:spChg chg="add mod">
          <ac:chgData name="Aurelien Domont" userId="6da7715ce44349b3" providerId="LiveId" clId="{E6277905-FCCE-4B88-BAD6-C5854D60B696}" dt="2021-05-19T06:45:08.943" v="1139"/>
          <ac:spMkLst>
            <pc:docMk/>
            <pc:sldMk cId="3274212698" sldId="1925"/>
            <ac:spMk id="111" creationId="{20264536-8DBF-4607-8B09-E74BA49D9878}"/>
          </ac:spMkLst>
        </pc:spChg>
        <pc:spChg chg="add mod">
          <ac:chgData name="Aurelien Domont" userId="6da7715ce44349b3" providerId="LiveId" clId="{E6277905-FCCE-4B88-BAD6-C5854D60B696}" dt="2021-05-19T06:45:08.943" v="1139"/>
          <ac:spMkLst>
            <pc:docMk/>
            <pc:sldMk cId="3274212698" sldId="1925"/>
            <ac:spMk id="112" creationId="{868F2369-1DB3-4017-A4A9-76D43C563CD4}"/>
          </ac:spMkLst>
        </pc:spChg>
        <pc:spChg chg="add mod">
          <ac:chgData name="Aurelien Domont" userId="6da7715ce44349b3" providerId="LiveId" clId="{E6277905-FCCE-4B88-BAD6-C5854D60B696}" dt="2021-05-19T06:45:08.943" v="1139"/>
          <ac:spMkLst>
            <pc:docMk/>
            <pc:sldMk cId="3274212698" sldId="1925"/>
            <ac:spMk id="114" creationId="{CDC3F07F-2D23-470D-B603-3FD8AB1ADAE6}"/>
          </ac:spMkLst>
        </pc:spChg>
        <pc:spChg chg="add mod">
          <ac:chgData name="Aurelien Domont" userId="6da7715ce44349b3" providerId="LiveId" clId="{E6277905-FCCE-4B88-BAD6-C5854D60B696}" dt="2021-05-19T06:45:08.943" v="1139"/>
          <ac:spMkLst>
            <pc:docMk/>
            <pc:sldMk cId="3274212698" sldId="1925"/>
            <ac:spMk id="115" creationId="{D0ADBC97-04C2-44A6-9094-FEE29F8B7AA5}"/>
          </ac:spMkLst>
        </pc:spChg>
        <pc:spChg chg="add mod">
          <ac:chgData name="Aurelien Domont" userId="6da7715ce44349b3" providerId="LiveId" clId="{E6277905-FCCE-4B88-BAD6-C5854D60B696}" dt="2021-05-19T06:45:08.943" v="1139"/>
          <ac:spMkLst>
            <pc:docMk/>
            <pc:sldMk cId="3274212698" sldId="1925"/>
            <ac:spMk id="116" creationId="{9A37BDF5-FBB8-46A2-ADFF-7BB4832D9805}"/>
          </ac:spMkLst>
        </pc:spChg>
        <pc:spChg chg="add mod">
          <ac:chgData name="Aurelien Domont" userId="6da7715ce44349b3" providerId="LiveId" clId="{E6277905-FCCE-4B88-BAD6-C5854D60B696}" dt="2021-05-19T06:45:08.943" v="1139"/>
          <ac:spMkLst>
            <pc:docMk/>
            <pc:sldMk cId="3274212698" sldId="1925"/>
            <ac:spMk id="117" creationId="{E2B7F8CB-E3EF-4740-BA5F-AC69AEE785D4}"/>
          </ac:spMkLst>
        </pc:spChg>
        <pc:grpChg chg="del">
          <ac:chgData name="Aurelien Domont" userId="6da7715ce44349b3" providerId="LiveId" clId="{E6277905-FCCE-4B88-BAD6-C5854D60B696}" dt="2021-05-19T06:44:02.951" v="1138" actId="478"/>
          <ac:grpSpMkLst>
            <pc:docMk/>
            <pc:sldMk cId="3274212698" sldId="1925"/>
            <ac:grpSpMk id="51" creationId="{02FE18B2-1EE1-423B-AA56-2E1957D32FB5}"/>
          </ac:grpSpMkLst>
        </pc:grpChg>
        <pc:grpChg chg="add mod">
          <ac:chgData name="Aurelien Domont" userId="6da7715ce44349b3" providerId="LiveId" clId="{E6277905-FCCE-4B88-BAD6-C5854D60B696}" dt="2021-05-19T06:45:08.943" v="1139"/>
          <ac:grpSpMkLst>
            <pc:docMk/>
            <pc:sldMk cId="3274212698" sldId="1925"/>
            <ac:grpSpMk id="89" creationId="{3955A9F5-B7CD-4F64-90B8-D5971EBAE0DD}"/>
          </ac:grpSpMkLst>
        </pc:grpChg>
        <pc:picChg chg="del">
          <ac:chgData name="Aurelien Domont" userId="6da7715ce44349b3" providerId="LiveId" clId="{E6277905-FCCE-4B88-BAD6-C5854D60B696}" dt="2021-05-19T06:44:02.951" v="1138" actId="478"/>
          <ac:picMkLst>
            <pc:docMk/>
            <pc:sldMk cId="3274212698" sldId="1925"/>
            <ac:picMk id="55" creationId="{A4FA445D-A84A-41ED-8E02-195CF8F8A81D}"/>
          </ac:picMkLst>
        </pc:picChg>
        <pc:picChg chg="del">
          <ac:chgData name="Aurelien Domont" userId="6da7715ce44349b3" providerId="LiveId" clId="{E6277905-FCCE-4B88-BAD6-C5854D60B696}" dt="2021-05-19T06:44:02.951" v="1138" actId="478"/>
          <ac:picMkLst>
            <pc:docMk/>
            <pc:sldMk cId="3274212698" sldId="1925"/>
            <ac:picMk id="56" creationId="{64ADD5FF-156B-4D9B-A8EF-89EB7E6D3FBF}"/>
          </ac:picMkLst>
        </pc:picChg>
        <pc:picChg chg="del">
          <ac:chgData name="Aurelien Domont" userId="6da7715ce44349b3" providerId="LiveId" clId="{E6277905-FCCE-4B88-BAD6-C5854D60B696}" dt="2021-05-19T06:44:02.951" v="1138" actId="478"/>
          <ac:picMkLst>
            <pc:docMk/>
            <pc:sldMk cId="3274212698" sldId="1925"/>
            <ac:picMk id="57" creationId="{FB803174-AE02-400E-9C93-D03E88712308}"/>
          </ac:picMkLst>
        </pc:picChg>
        <pc:picChg chg="del">
          <ac:chgData name="Aurelien Domont" userId="6da7715ce44349b3" providerId="LiveId" clId="{E6277905-FCCE-4B88-BAD6-C5854D60B696}" dt="2021-05-19T06:44:02.951" v="1138" actId="478"/>
          <ac:picMkLst>
            <pc:docMk/>
            <pc:sldMk cId="3274212698" sldId="1925"/>
            <ac:picMk id="58" creationId="{D4A6C9F0-BCEF-4AFF-9704-E4BF64DB0ADD}"/>
          </ac:picMkLst>
        </pc:picChg>
        <pc:picChg chg="del">
          <ac:chgData name="Aurelien Domont" userId="6da7715ce44349b3" providerId="LiveId" clId="{E6277905-FCCE-4B88-BAD6-C5854D60B696}" dt="2021-05-19T06:44:02.951" v="1138" actId="478"/>
          <ac:picMkLst>
            <pc:docMk/>
            <pc:sldMk cId="3274212698" sldId="1925"/>
            <ac:picMk id="66" creationId="{9A15547F-27C7-494F-9B37-6EB3ED04DB87}"/>
          </ac:picMkLst>
        </pc:picChg>
        <pc:picChg chg="del">
          <ac:chgData name="Aurelien Domont" userId="6da7715ce44349b3" providerId="LiveId" clId="{E6277905-FCCE-4B88-BAD6-C5854D60B696}" dt="2021-05-19T06:44:02.951" v="1138" actId="478"/>
          <ac:picMkLst>
            <pc:docMk/>
            <pc:sldMk cId="3274212698" sldId="1925"/>
            <ac:picMk id="69" creationId="{7D2EA8E4-AEED-45E4-851F-DDA0ED3FADFB}"/>
          </ac:picMkLst>
        </pc:picChg>
        <pc:picChg chg="del">
          <ac:chgData name="Aurelien Domont" userId="6da7715ce44349b3" providerId="LiveId" clId="{E6277905-FCCE-4B88-BAD6-C5854D60B696}" dt="2021-05-19T06:44:02.951" v="1138" actId="478"/>
          <ac:picMkLst>
            <pc:docMk/>
            <pc:sldMk cId="3274212698" sldId="1925"/>
            <ac:picMk id="72" creationId="{3E3C36E9-A83F-4982-AF48-F596BB1975B8}"/>
          </ac:picMkLst>
        </pc:picChg>
        <pc:picChg chg="del">
          <ac:chgData name="Aurelien Domont" userId="6da7715ce44349b3" providerId="LiveId" clId="{E6277905-FCCE-4B88-BAD6-C5854D60B696}" dt="2021-05-19T06:44:02.951" v="1138" actId="478"/>
          <ac:picMkLst>
            <pc:docMk/>
            <pc:sldMk cId="3274212698" sldId="1925"/>
            <ac:picMk id="73" creationId="{E75442E2-71E9-44FC-A238-51195747C8BC}"/>
          </ac:picMkLst>
        </pc:picChg>
        <pc:picChg chg="del">
          <ac:chgData name="Aurelien Domont" userId="6da7715ce44349b3" providerId="LiveId" clId="{E6277905-FCCE-4B88-BAD6-C5854D60B696}" dt="2021-05-19T06:44:02.951" v="1138" actId="478"/>
          <ac:picMkLst>
            <pc:docMk/>
            <pc:sldMk cId="3274212698" sldId="1925"/>
            <ac:picMk id="77" creationId="{8008FDF0-7F97-4342-A1DE-7763174709E6}"/>
          </ac:picMkLst>
        </pc:picChg>
        <pc:picChg chg="del">
          <ac:chgData name="Aurelien Domont" userId="6da7715ce44349b3" providerId="LiveId" clId="{E6277905-FCCE-4B88-BAD6-C5854D60B696}" dt="2021-05-19T06:44:02.951" v="1138" actId="478"/>
          <ac:picMkLst>
            <pc:docMk/>
            <pc:sldMk cId="3274212698" sldId="1925"/>
            <ac:picMk id="80" creationId="{39C7C8E8-3819-4704-9576-38320744029D}"/>
          </ac:picMkLst>
        </pc:picChg>
        <pc:picChg chg="del">
          <ac:chgData name="Aurelien Domont" userId="6da7715ce44349b3" providerId="LiveId" clId="{E6277905-FCCE-4B88-BAD6-C5854D60B696}" dt="2021-05-19T06:44:02.951" v="1138" actId="478"/>
          <ac:picMkLst>
            <pc:docMk/>
            <pc:sldMk cId="3274212698" sldId="1925"/>
            <ac:picMk id="81" creationId="{E1A1A112-7EBD-45B0-8611-7A7D55304913}"/>
          </ac:picMkLst>
        </pc:picChg>
        <pc:picChg chg="add mod">
          <ac:chgData name="Aurelien Domont" userId="6da7715ce44349b3" providerId="LiveId" clId="{E6277905-FCCE-4B88-BAD6-C5854D60B696}" dt="2021-05-19T06:45:08.943" v="1139"/>
          <ac:picMkLst>
            <pc:docMk/>
            <pc:sldMk cId="3274212698" sldId="1925"/>
            <ac:picMk id="93" creationId="{55D4B895-3F0B-4DD6-853E-DCC05E388F80}"/>
          </ac:picMkLst>
        </pc:picChg>
        <pc:picChg chg="add mod">
          <ac:chgData name="Aurelien Domont" userId="6da7715ce44349b3" providerId="LiveId" clId="{E6277905-FCCE-4B88-BAD6-C5854D60B696}" dt="2021-05-19T06:45:08.943" v="1139"/>
          <ac:picMkLst>
            <pc:docMk/>
            <pc:sldMk cId="3274212698" sldId="1925"/>
            <ac:picMk id="94" creationId="{E6B5A254-7475-41A8-AD4A-41672F41F9AD}"/>
          </ac:picMkLst>
        </pc:picChg>
        <pc:picChg chg="add mod">
          <ac:chgData name="Aurelien Domont" userId="6da7715ce44349b3" providerId="LiveId" clId="{E6277905-FCCE-4B88-BAD6-C5854D60B696}" dt="2021-05-19T06:45:08.943" v="1139"/>
          <ac:picMkLst>
            <pc:docMk/>
            <pc:sldMk cId="3274212698" sldId="1925"/>
            <ac:picMk id="95" creationId="{BAC39F4C-80C6-4F37-939A-FEC43265C745}"/>
          </ac:picMkLst>
        </pc:picChg>
        <pc:picChg chg="add mod">
          <ac:chgData name="Aurelien Domont" userId="6da7715ce44349b3" providerId="LiveId" clId="{E6277905-FCCE-4B88-BAD6-C5854D60B696}" dt="2021-05-19T06:45:08.943" v="1139"/>
          <ac:picMkLst>
            <pc:docMk/>
            <pc:sldMk cId="3274212698" sldId="1925"/>
            <ac:picMk id="96" creationId="{E8DA2080-DD45-41EE-A88B-D78AF94F664B}"/>
          </ac:picMkLst>
        </pc:picChg>
        <pc:picChg chg="add mod">
          <ac:chgData name="Aurelien Domont" userId="6da7715ce44349b3" providerId="LiveId" clId="{E6277905-FCCE-4B88-BAD6-C5854D60B696}" dt="2021-05-19T06:45:08.943" v="1139"/>
          <ac:picMkLst>
            <pc:docMk/>
            <pc:sldMk cId="3274212698" sldId="1925"/>
            <ac:picMk id="104" creationId="{C818559D-D1CC-483D-8C91-4FF20EF6C5E5}"/>
          </ac:picMkLst>
        </pc:picChg>
        <pc:picChg chg="add mod">
          <ac:chgData name="Aurelien Domont" userId="6da7715ce44349b3" providerId="LiveId" clId="{E6277905-FCCE-4B88-BAD6-C5854D60B696}" dt="2021-05-19T06:45:08.943" v="1139"/>
          <ac:picMkLst>
            <pc:docMk/>
            <pc:sldMk cId="3274212698" sldId="1925"/>
            <ac:picMk id="107" creationId="{2BA8F216-B9A4-4F55-8B5D-97927B4A9754}"/>
          </ac:picMkLst>
        </pc:picChg>
        <pc:picChg chg="add mod">
          <ac:chgData name="Aurelien Domont" userId="6da7715ce44349b3" providerId="LiveId" clId="{E6277905-FCCE-4B88-BAD6-C5854D60B696}" dt="2021-05-19T06:45:08.943" v="1139"/>
          <ac:picMkLst>
            <pc:docMk/>
            <pc:sldMk cId="3274212698" sldId="1925"/>
            <ac:picMk id="110" creationId="{AA72594A-CB70-4602-8A29-5BCAD24FC85B}"/>
          </ac:picMkLst>
        </pc:picChg>
        <pc:picChg chg="add mod">
          <ac:chgData name="Aurelien Domont" userId="6da7715ce44349b3" providerId="LiveId" clId="{E6277905-FCCE-4B88-BAD6-C5854D60B696}" dt="2021-05-19T06:45:08.943" v="1139"/>
          <ac:picMkLst>
            <pc:docMk/>
            <pc:sldMk cId="3274212698" sldId="1925"/>
            <ac:picMk id="113" creationId="{BE302D27-2062-4483-BA8A-40643D1A0757}"/>
          </ac:picMkLst>
        </pc:picChg>
        <pc:picChg chg="add mod">
          <ac:chgData name="Aurelien Domont" userId="6da7715ce44349b3" providerId="LiveId" clId="{E6277905-FCCE-4B88-BAD6-C5854D60B696}" dt="2021-05-19T06:45:08.943" v="1139"/>
          <ac:picMkLst>
            <pc:docMk/>
            <pc:sldMk cId="3274212698" sldId="1925"/>
            <ac:picMk id="118" creationId="{56FCC3FA-007A-40E2-B90C-01AFFCF85C47}"/>
          </ac:picMkLst>
        </pc:picChg>
        <pc:picChg chg="add mod">
          <ac:chgData name="Aurelien Domont" userId="6da7715ce44349b3" providerId="LiveId" clId="{E6277905-FCCE-4B88-BAD6-C5854D60B696}" dt="2021-05-19T06:45:08.943" v="1139"/>
          <ac:picMkLst>
            <pc:docMk/>
            <pc:sldMk cId="3274212698" sldId="1925"/>
            <ac:picMk id="119" creationId="{86CC8FE2-E91B-444C-9A8D-5927B10AD0D3}"/>
          </ac:picMkLst>
        </pc:picChg>
        <pc:picChg chg="add mod">
          <ac:chgData name="Aurelien Domont" userId="6da7715ce44349b3" providerId="LiveId" clId="{E6277905-FCCE-4B88-BAD6-C5854D60B696}" dt="2021-05-19T06:45:08.943" v="1139"/>
          <ac:picMkLst>
            <pc:docMk/>
            <pc:sldMk cId="3274212698" sldId="1925"/>
            <ac:picMk id="120" creationId="{7EF86C02-27FF-4AA3-B563-8410E16DC732}"/>
          </ac:picMkLst>
        </pc:picChg>
      </pc:sldChg>
      <pc:sldChg chg="del">
        <pc:chgData name="Aurelien Domont" userId="6da7715ce44349b3" providerId="LiveId" clId="{E6277905-FCCE-4B88-BAD6-C5854D60B696}" dt="2021-05-19T07:18:52.520" v="1773" actId="47"/>
        <pc:sldMkLst>
          <pc:docMk/>
          <pc:sldMk cId="4057054822" sldId="2147"/>
        </pc:sldMkLst>
      </pc:sldChg>
      <pc:sldChg chg="del">
        <pc:chgData name="Aurelien Domont" userId="6da7715ce44349b3" providerId="LiveId" clId="{E6277905-FCCE-4B88-BAD6-C5854D60B696}" dt="2021-05-19T07:18:52.520" v="1773" actId="47"/>
        <pc:sldMkLst>
          <pc:docMk/>
          <pc:sldMk cId="4208437711" sldId="2148"/>
        </pc:sldMkLst>
      </pc:sldChg>
      <pc:sldChg chg="delSp add del mod">
        <pc:chgData name="Aurelien Domont" userId="6da7715ce44349b3" providerId="LiveId" clId="{E6277905-FCCE-4B88-BAD6-C5854D60B696}" dt="2021-05-19T06:29:07.268" v="922" actId="47"/>
        <pc:sldMkLst>
          <pc:docMk/>
          <pc:sldMk cId="4006627445" sldId="2150"/>
        </pc:sldMkLst>
        <pc:spChg chg="del">
          <ac:chgData name="Aurelien Domont" userId="6da7715ce44349b3" providerId="LiveId" clId="{E6277905-FCCE-4B88-BAD6-C5854D60B696}" dt="2021-05-18T05:50:46.670" v="44" actId="478"/>
          <ac:spMkLst>
            <pc:docMk/>
            <pc:sldMk cId="4006627445" sldId="2150"/>
            <ac:spMk id="14" creationId="{1E88A16D-E54C-45FC-97FE-3A1C196DAF1A}"/>
          </ac:spMkLst>
        </pc:spChg>
      </pc:sldChg>
      <pc:sldChg chg="modSp add del mod">
        <pc:chgData name="Aurelien Domont" userId="6da7715ce44349b3" providerId="LiveId" clId="{E6277905-FCCE-4B88-BAD6-C5854D60B696}" dt="2021-05-19T06:28:23.391" v="921" actId="47"/>
        <pc:sldMkLst>
          <pc:docMk/>
          <pc:sldMk cId="800771593" sldId="2151"/>
        </pc:sldMkLst>
        <pc:spChg chg="mod">
          <ac:chgData name="Aurelien Domont" userId="6da7715ce44349b3" providerId="LiveId" clId="{E6277905-FCCE-4B88-BAD6-C5854D60B696}" dt="2021-05-19T05:54:39.115" v="328" actId="207"/>
          <ac:spMkLst>
            <pc:docMk/>
            <pc:sldMk cId="800771593" sldId="2151"/>
            <ac:spMk id="2" creationId="{8D91CEA2-A9A2-44FD-975C-6F4A2D59641D}"/>
          </ac:spMkLst>
        </pc:spChg>
      </pc:sldChg>
      <pc:sldChg chg="modSp add del mod">
        <pc:chgData name="Aurelien Domont" userId="6da7715ce44349b3" providerId="LiveId" clId="{E6277905-FCCE-4B88-BAD6-C5854D60B696}" dt="2021-05-19T06:28:21.064" v="920" actId="47"/>
        <pc:sldMkLst>
          <pc:docMk/>
          <pc:sldMk cId="3247063612" sldId="2152"/>
        </pc:sldMkLst>
        <pc:spChg chg="mod">
          <ac:chgData name="Aurelien Domont" userId="6da7715ce44349b3" providerId="LiveId" clId="{E6277905-FCCE-4B88-BAD6-C5854D60B696}" dt="2021-05-19T06:12:41.432" v="657" actId="108"/>
          <ac:spMkLst>
            <pc:docMk/>
            <pc:sldMk cId="3247063612" sldId="2152"/>
            <ac:spMk id="2" creationId="{8D91CEA2-A9A2-44FD-975C-6F4A2D59641D}"/>
          </ac:spMkLst>
        </pc:spChg>
      </pc:sldChg>
    </pc:docChg>
  </pc:docChgLst>
  <pc:docChgLst>
    <pc:chgData name="Aurelien Domont" userId="6da7715ce44349b3" providerId="LiveId" clId="{55F57EB3-E1F5-4CE0-B2C9-79E7C493476E}"/>
    <pc:docChg chg="undo custSel addSld delSld modSld">
      <pc:chgData name="Aurelien Domont" userId="6da7715ce44349b3" providerId="LiveId" clId="{55F57EB3-E1F5-4CE0-B2C9-79E7C493476E}" dt="2021-05-26T04:49:13.998" v="763" actId="20577"/>
      <pc:docMkLst>
        <pc:docMk/>
      </pc:docMkLst>
      <pc:sldChg chg="del">
        <pc:chgData name="Aurelien Domont" userId="6da7715ce44349b3" providerId="LiveId" clId="{55F57EB3-E1F5-4CE0-B2C9-79E7C493476E}" dt="2021-05-26T04:00:42.730" v="0" actId="47"/>
        <pc:sldMkLst>
          <pc:docMk/>
          <pc:sldMk cId="1454614553" sldId="2150"/>
        </pc:sldMkLst>
      </pc:sldChg>
      <pc:sldChg chg="addSp delSp modSp add del mod">
        <pc:chgData name="Aurelien Domont" userId="6da7715ce44349b3" providerId="LiveId" clId="{55F57EB3-E1F5-4CE0-B2C9-79E7C493476E}" dt="2021-05-26T04:48:59.863" v="759" actId="14100"/>
        <pc:sldMkLst>
          <pc:docMk/>
          <pc:sldMk cId="1513791665" sldId="2172"/>
        </pc:sldMkLst>
        <pc:spChg chg="add del mod">
          <ac:chgData name="Aurelien Domont" userId="6da7715ce44349b3" providerId="LiveId" clId="{55F57EB3-E1F5-4CE0-B2C9-79E7C493476E}" dt="2021-05-26T04:48:56.230" v="756" actId="478"/>
          <ac:spMkLst>
            <pc:docMk/>
            <pc:sldMk cId="1513791665" sldId="2172"/>
            <ac:spMk id="8" creationId="{DB546A45-2C46-4CDF-910A-9F4412F53246}"/>
          </ac:spMkLst>
        </pc:spChg>
        <pc:spChg chg="add mod">
          <ac:chgData name="Aurelien Domont" userId="6da7715ce44349b3" providerId="LiveId" clId="{55F57EB3-E1F5-4CE0-B2C9-79E7C493476E}" dt="2021-05-26T04:48:59.863" v="759" actId="14100"/>
          <ac:spMkLst>
            <pc:docMk/>
            <pc:sldMk cId="1513791665" sldId="2172"/>
            <ac:spMk id="9" creationId="{68B5E494-9E64-4D7D-A0CC-7C85F84FAF81}"/>
          </ac:spMkLst>
        </pc:spChg>
      </pc:sldChg>
      <pc:sldChg chg="addSp delSp modSp add del mod">
        <pc:chgData name="Aurelien Domont" userId="6da7715ce44349b3" providerId="LiveId" clId="{55F57EB3-E1F5-4CE0-B2C9-79E7C493476E}" dt="2021-05-26T04:49:03.167" v="761"/>
        <pc:sldMkLst>
          <pc:docMk/>
          <pc:sldMk cId="1141822668" sldId="2176"/>
        </pc:sldMkLst>
        <pc:spChg chg="del">
          <ac:chgData name="Aurelien Domont" userId="6da7715ce44349b3" providerId="LiveId" clId="{55F57EB3-E1F5-4CE0-B2C9-79E7C493476E}" dt="2021-05-26T04:47:13.562" v="728" actId="478"/>
          <ac:spMkLst>
            <pc:docMk/>
            <pc:sldMk cId="1141822668" sldId="2176"/>
            <ac:spMk id="8" creationId="{DFE6F761-91D4-44B0-A4CE-7D95A291FA90}"/>
          </ac:spMkLst>
        </pc:spChg>
        <pc:spChg chg="add mod">
          <ac:chgData name="Aurelien Domont" userId="6da7715ce44349b3" providerId="LiveId" clId="{55F57EB3-E1F5-4CE0-B2C9-79E7C493476E}" dt="2021-05-26T04:49:03.167" v="761"/>
          <ac:spMkLst>
            <pc:docMk/>
            <pc:sldMk cId="1141822668" sldId="2176"/>
            <ac:spMk id="10" creationId="{B55C10AF-D7B8-4125-9466-6A5D3903FBF2}"/>
          </ac:spMkLst>
        </pc:spChg>
      </pc:sldChg>
      <pc:sldChg chg="del">
        <pc:chgData name="Aurelien Domont" userId="6da7715ce44349b3" providerId="LiveId" clId="{55F57EB3-E1F5-4CE0-B2C9-79E7C493476E}" dt="2021-05-26T04:47:05.908" v="726" actId="47"/>
        <pc:sldMkLst>
          <pc:docMk/>
          <pc:sldMk cId="3254900428" sldId="2177"/>
        </pc:sldMkLst>
      </pc:sldChg>
      <pc:sldChg chg="modSp mod">
        <pc:chgData name="Aurelien Domont" userId="6da7715ce44349b3" providerId="LiveId" clId="{55F57EB3-E1F5-4CE0-B2C9-79E7C493476E}" dt="2021-05-26T04:20:52.610" v="721" actId="1035"/>
        <pc:sldMkLst>
          <pc:docMk/>
          <pc:sldMk cId="3746824585" sldId="2179"/>
        </pc:sldMkLst>
        <pc:spChg chg="mod">
          <ac:chgData name="Aurelien Domont" userId="6da7715ce44349b3" providerId="LiveId" clId="{55F57EB3-E1F5-4CE0-B2C9-79E7C493476E}" dt="2021-05-26T04:20:52.610" v="721" actId="1035"/>
          <ac:spMkLst>
            <pc:docMk/>
            <pc:sldMk cId="3746824585" sldId="2179"/>
            <ac:spMk id="15" creationId="{D1D41F39-1E1F-402E-AD1F-A5FDB8A9FE95}"/>
          </ac:spMkLst>
        </pc:spChg>
      </pc:sldChg>
      <pc:sldChg chg="modSp mod">
        <pc:chgData name="Aurelien Domont" userId="6da7715ce44349b3" providerId="LiveId" clId="{55F57EB3-E1F5-4CE0-B2C9-79E7C493476E}" dt="2021-05-26T04:14:48.808" v="700" actId="20577"/>
        <pc:sldMkLst>
          <pc:docMk/>
          <pc:sldMk cId="4292960502" sldId="2184"/>
        </pc:sldMkLst>
        <pc:spChg chg="mod">
          <ac:chgData name="Aurelien Domont" userId="6da7715ce44349b3" providerId="LiveId" clId="{55F57EB3-E1F5-4CE0-B2C9-79E7C493476E}" dt="2021-05-26T04:14:48.808" v="700" actId="20577"/>
          <ac:spMkLst>
            <pc:docMk/>
            <pc:sldMk cId="4292960502" sldId="2184"/>
            <ac:spMk id="3" creationId="{6BE1B6B4-87AF-4A0F-9A81-38B388B86D24}"/>
          </ac:spMkLst>
        </pc:spChg>
      </pc:sldChg>
      <pc:sldChg chg="addSp modSp add">
        <pc:chgData name="Aurelien Domont" userId="6da7715ce44349b3" providerId="LiveId" clId="{55F57EB3-E1F5-4CE0-B2C9-79E7C493476E}" dt="2021-05-26T04:49:01.614" v="760"/>
        <pc:sldMkLst>
          <pc:docMk/>
          <pc:sldMk cId="542636106" sldId="2185"/>
        </pc:sldMkLst>
        <pc:spChg chg="add mod">
          <ac:chgData name="Aurelien Domont" userId="6da7715ce44349b3" providerId="LiveId" clId="{55F57EB3-E1F5-4CE0-B2C9-79E7C493476E}" dt="2021-05-26T04:49:01.614" v="760"/>
          <ac:spMkLst>
            <pc:docMk/>
            <pc:sldMk cId="542636106" sldId="2185"/>
            <ac:spMk id="8" creationId="{ECDEB1A2-CCBA-4981-8EBC-1B825B01B41E}"/>
          </ac:spMkLst>
        </pc:spChg>
      </pc:sldChg>
      <pc:sldChg chg="addSp delSp modSp add mod">
        <pc:chgData name="Aurelien Domont" userId="6da7715ce44349b3" providerId="LiveId" clId="{55F57EB3-E1F5-4CE0-B2C9-79E7C493476E}" dt="2021-05-26T04:49:13.998" v="763" actId="20577"/>
        <pc:sldMkLst>
          <pc:docMk/>
          <pc:sldMk cId="264443487" sldId="2186"/>
        </pc:sldMkLst>
        <pc:spChg chg="del">
          <ac:chgData name="Aurelien Domont" userId="6da7715ce44349b3" providerId="LiveId" clId="{55F57EB3-E1F5-4CE0-B2C9-79E7C493476E}" dt="2021-05-26T04:47:10.574" v="727" actId="478"/>
          <ac:spMkLst>
            <pc:docMk/>
            <pc:sldMk cId="264443487" sldId="2186"/>
            <ac:spMk id="8" creationId="{DFE6F761-91D4-44B0-A4CE-7D95A291FA90}"/>
          </ac:spMkLst>
        </pc:spChg>
        <pc:spChg chg="add mod">
          <ac:chgData name="Aurelien Domont" userId="6da7715ce44349b3" providerId="LiveId" clId="{55F57EB3-E1F5-4CE0-B2C9-79E7C493476E}" dt="2021-05-26T04:49:13.998" v="763" actId="20577"/>
          <ac:spMkLst>
            <pc:docMk/>
            <pc:sldMk cId="264443487" sldId="2186"/>
            <ac:spMk id="10" creationId="{BB1969C4-0997-4353-855A-C9E4E40CF32C}"/>
          </ac:spMkLst>
        </pc:spChg>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26F08DD6-78BD-41A5-98D2-301BC67BA0D2}"/>
    <pc:docChg chg="custSel addSld delSld modSld sldOrd">
      <pc:chgData name="Aurelien Domont" userId="6da7715ce44349b3" providerId="LiveId" clId="{26F08DD6-78BD-41A5-98D2-301BC67BA0D2}" dt="2023-05-05T05:39:06.850" v="281" actId="47"/>
      <pc:docMkLst>
        <pc:docMk/>
      </pc:docMkLst>
      <pc:sldChg chg="addSp delSp modSp del mod">
        <pc:chgData name="Aurelien Domont" userId="6da7715ce44349b3" providerId="LiveId" clId="{26F08DD6-78BD-41A5-98D2-301BC67BA0D2}" dt="2023-05-05T05:39:06.850" v="281" actId="47"/>
        <pc:sldMkLst>
          <pc:docMk/>
          <pc:sldMk cId="3131901387" sldId="256"/>
        </pc:sldMkLst>
        <pc:spChg chg="mod">
          <ac:chgData name="Aurelien Domont" userId="6da7715ce44349b3" providerId="LiveId" clId="{26F08DD6-78BD-41A5-98D2-301BC67BA0D2}" dt="2023-04-27T04:57:10.521" v="276" actId="20577"/>
          <ac:spMkLst>
            <pc:docMk/>
            <pc:sldMk cId="3131901387" sldId="256"/>
            <ac:spMk id="2" creationId="{5261080C-C60C-4746-B6B1-A9A4FFA86785}"/>
          </ac:spMkLst>
        </pc:spChg>
        <pc:spChg chg="add del mod">
          <ac:chgData name="Aurelien Domont" userId="6da7715ce44349b3" providerId="LiveId" clId="{26F08DD6-78BD-41A5-98D2-301BC67BA0D2}" dt="2023-04-27T04:57:31.237" v="277" actId="478"/>
          <ac:spMkLst>
            <pc:docMk/>
            <pc:sldMk cId="3131901387" sldId="256"/>
            <ac:spMk id="6" creationId="{9DBD6458-1C12-6515-166B-0D2B70FD7982}"/>
          </ac:spMkLst>
        </pc:spChg>
      </pc:sldChg>
      <pc:sldChg chg="ord">
        <pc:chgData name="Aurelien Domont" userId="6da7715ce44349b3" providerId="LiveId" clId="{26F08DD6-78BD-41A5-98D2-301BC67BA0D2}" dt="2023-04-27T02:19:59.582" v="93"/>
        <pc:sldMkLst>
          <pc:docMk/>
          <pc:sldMk cId="856612834" sldId="1758"/>
        </pc:sldMkLst>
      </pc:sldChg>
      <pc:sldChg chg="ord">
        <pc:chgData name="Aurelien Domont" userId="6da7715ce44349b3" providerId="LiveId" clId="{26F08DD6-78BD-41A5-98D2-301BC67BA0D2}" dt="2023-04-27T02:19:59.582" v="93"/>
        <pc:sldMkLst>
          <pc:docMk/>
          <pc:sldMk cId="2223041730" sldId="1759"/>
        </pc:sldMkLst>
      </pc:sldChg>
      <pc:sldChg chg="ord">
        <pc:chgData name="Aurelien Domont" userId="6da7715ce44349b3" providerId="LiveId" clId="{26F08DD6-78BD-41A5-98D2-301BC67BA0D2}" dt="2023-04-27T02:19:59.582" v="93"/>
        <pc:sldMkLst>
          <pc:docMk/>
          <pc:sldMk cId="3232525629" sldId="1760"/>
        </pc:sldMkLst>
      </pc:sldChg>
      <pc:sldChg chg="modSp mod">
        <pc:chgData name="Aurelien Domont" userId="6da7715ce44349b3" providerId="LiveId" clId="{26F08DD6-78BD-41A5-98D2-301BC67BA0D2}" dt="2023-04-28T00:05:01.382" v="278" actId="20577"/>
        <pc:sldMkLst>
          <pc:docMk/>
          <pc:sldMk cId="1800067688" sldId="1763"/>
        </pc:sldMkLst>
        <pc:spChg chg="mod">
          <ac:chgData name="Aurelien Domont" userId="6da7715ce44349b3" providerId="LiveId" clId="{26F08DD6-78BD-41A5-98D2-301BC67BA0D2}" dt="2023-04-28T00:05:01.382" v="278" actId="20577"/>
          <ac:spMkLst>
            <pc:docMk/>
            <pc:sldMk cId="1800067688" sldId="1763"/>
            <ac:spMk id="20" creationId="{96033D0E-33E2-42D8-B644-F62F4C59A302}"/>
          </ac:spMkLst>
        </pc:spChg>
      </pc:sldChg>
      <pc:sldChg chg="addSp delSp modSp del mod">
        <pc:chgData name="Aurelien Domont" userId="6da7715ce44349b3" providerId="LiveId" clId="{26F08DD6-78BD-41A5-98D2-301BC67BA0D2}" dt="2023-04-27T02:24:02.882" v="233" actId="47"/>
        <pc:sldMkLst>
          <pc:docMk/>
          <pc:sldMk cId="950188108" sldId="2215"/>
        </pc:sldMkLst>
        <pc:spChg chg="del">
          <ac:chgData name="Aurelien Domont" userId="6da7715ce44349b3" providerId="LiveId" clId="{26F08DD6-78BD-41A5-98D2-301BC67BA0D2}" dt="2023-04-27T02:17:47.835" v="0" actId="478"/>
          <ac:spMkLst>
            <pc:docMk/>
            <pc:sldMk cId="950188108" sldId="2215"/>
            <ac:spMk id="2" creationId="{AAFA054E-BCD0-FEF8-FA7E-BE8519026C16}"/>
          </ac:spMkLst>
        </pc:spChg>
        <pc:spChg chg="add mod">
          <ac:chgData name="Aurelien Domont" userId="6da7715ce44349b3" providerId="LiveId" clId="{26F08DD6-78BD-41A5-98D2-301BC67BA0D2}" dt="2023-04-27T02:22:57.051" v="207" actId="207"/>
          <ac:spMkLst>
            <pc:docMk/>
            <pc:sldMk cId="950188108" sldId="2215"/>
            <ac:spMk id="3" creationId="{57B3B926-43D9-6A91-225A-27A3F4F2AF1C}"/>
          </ac:spMkLst>
        </pc:spChg>
        <pc:spChg chg="add mod">
          <ac:chgData name="Aurelien Domont" userId="6da7715ce44349b3" providerId="LiveId" clId="{26F08DD6-78BD-41A5-98D2-301BC67BA0D2}" dt="2023-04-27T02:23:04.749" v="229" actId="14100"/>
          <ac:spMkLst>
            <pc:docMk/>
            <pc:sldMk cId="950188108" sldId="2215"/>
            <ac:spMk id="6" creationId="{BAD7243E-F3D8-6A3D-3C29-A8F247F2D370}"/>
          </ac:spMkLst>
        </pc:spChg>
        <pc:spChg chg="del">
          <ac:chgData name="Aurelien Domont" userId="6da7715ce44349b3" providerId="LiveId" clId="{26F08DD6-78BD-41A5-98D2-301BC67BA0D2}" dt="2023-04-27T02:17:47.835" v="0" actId="478"/>
          <ac:spMkLst>
            <pc:docMk/>
            <pc:sldMk cId="950188108" sldId="2215"/>
            <ac:spMk id="41" creationId="{D7F12028-5BF7-4B29-A310-2318BF130B0E}"/>
          </ac:spMkLst>
        </pc:spChg>
        <pc:spChg chg="del">
          <ac:chgData name="Aurelien Domont" userId="6da7715ce44349b3" providerId="LiveId" clId="{26F08DD6-78BD-41A5-98D2-301BC67BA0D2}" dt="2023-04-27T02:17:47.835" v="0" actId="478"/>
          <ac:spMkLst>
            <pc:docMk/>
            <pc:sldMk cId="950188108" sldId="2215"/>
            <ac:spMk id="42" creationId="{9B9FF0CA-19D1-4A78-8BCD-4F07E8827536}"/>
          </ac:spMkLst>
        </pc:spChg>
        <pc:spChg chg="del">
          <ac:chgData name="Aurelien Domont" userId="6da7715ce44349b3" providerId="LiveId" clId="{26F08DD6-78BD-41A5-98D2-301BC67BA0D2}" dt="2023-04-27T02:17:47.835" v="0" actId="478"/>
          <ac:spMkLst>
            <pc:docMk/>
            <pc:sldMk cId="950188108" sldId="2215"/>
            <ac:spMk id="43" creationId="{609EE461-7AF7-4CF0-B7B1-59DA4BEE23E0}"/>
          </ac:spMkLst>
        </pc:spChg>
        <pc:spChg chg="del">
          <ac:chgData name="Aurelien Domont" userId="6da7715ce44349b3" providerId="LiveId" clId="{26F08DD6-78BD-41A5-98D2-301BC67BA0D2}" dt="2023-04-27T02:17:47.835" v="0" actId="478"/>
          <ac:spMkLst>
            <pc:docMk/>
            <pc:sldMk cId="950188108" sldId="2215"/>
            <ac:spMk id="45" creationId="{9EF7E331-A0F7-47A9-9159-C803B35C3FC5}"/>
          </ac:spMkLst>
        </pc:spChg>
        <pc:spChg chg="del">
          <ac:chgData name="Aurelien Domont" userId="6da7715ce44349b3" providerId="LiveId" clId="{26F08DD6-78BD-41A5-98D2-301BC67BA0D2}" dt="2023-04-27T02:17:47.835" v="0" actId="478"/>
          <ac:spMkLst>
            <pc:docMk/>
            <pc:sldMk cId="950188108" sldId="2215"/>
            <ac:spMk id="46" creationId="{04BB33EC-E788-469D-91F3-391F83BBF027}"/>
          </ac:spMkLst>
        </pc:spChg>
        <pc:spChg chg="del">
          <ac:chgData name="Aurelien Domont" userId="6da7715ce44349b3" providerId="LiveId" clId="{26F08DD6-78BD-41A5-98D2-301BC67BA0D2}" dt="2023-04-27T02:17:47.835" v="0" actId="478"/>
          <ac:spMkLst>
            <pc:docMk/>
            <pc:sldMk cId="950188108" sldId="2215"/>
            <ac:spMk id="47" creationId="{82D17753-E9AA-4604-81ED-7178CFE9918D}"/>
          </ac:spMkLst>
        </pc:spChg>
        <pc:spChg chg="del">
          <ac:chgData name="Aurelien Domont" userId="6da7715ce44349b3" providerId="LiveId" clId="{26F08DD6-78BD-41A5-98D2-301BC67BA0D2}" dt="2023-04-27T02:17:47.835" v="0" actId="478"/>
          <ac:spMkLst>
            <pc:docMk/>
            <pc:sldMk cId="950188108" sldId="2215"/>
            <ac:spMk id="48" creationId="{807C9D61-4EA4-445A-AE9E-BAD1C51DD02F}"/>
          </ac:spMkLst>
        </pc:spChg>
        <pc:spChg chg="del">
          <ac:chgData name="Aurelien Domont" userId="6da7715ce44349b3" providerId="LiveId" clId="{26F08DD6-78BD-41A5-98D2-301BC67BA0D2}" dt="2023-04-27T02:17:47.835" v="0" actId="478"/>
          <ac:spMkLst>
            <pc:docMk/>
            <pc:sldMk cId="950188108" sldId="2215"/>
            <ac:spMk id="50" creationId="{AF1E87C3-304E-41BF-827C-8DAC669F9295}"/>
          </ac:spMkLst>
        </pc:spChg>
        <pc:spChg chg="del">
          <ac:chgData name="Aurelien Domont" userId="6da7715ce44349b3" providerId="LiveId" clId="{26F08DD6-78BD-41A5-98D2-301BC67BA0D2}" dt="2023-04-27T02:17:47.835" v="0" actId="478"/>
          <ac:spMkLst>
            <pc:docMk/>
            <pc:sldMk cId="950188108" sldId="2215"/>
            <ac:spMk id="51" creationId="{73D3E444-CA7C-48C6-BC1D-B72E1CC7CD03}"/>
          </ac:spMkLst>
        </pc:spChg>
        <pc:spChg chg="del">
          <ac:chgData name="Aurelien Domont" userId="6da7715ce44349b3" providerId="LiveId" clId="{26F08DD6-78BD-41A5-98D2-301BC67BA0D2}" dt="2023-04-27T02:17:47.835" v="0" actId="478"/>
          <ac:spMkLst>
            <pc:docMk/>
            <pc:sldMk cId="950188108" sldId="2215"/>
            <ac:spMk id="53" creationId="{17883D6D-6E1A-4C48-83A4-837289985538}"/>
          </ac:spMkLst>
        </pc:spChg>
        <pc:spChg chg="del">
          <ac:chgData name="Aurelien Domont" userId="6da7715ce44349b3" providerId="LiveId" clId="{26F08DD6-78BD-41A5-98D2-301BC67BA0D2}" dt="2023-04-27T02:17:47.835" v="0" actId="478"/>
          <ac:spMkLst>
            <pc:docMk/>
            <pc:sldMk cId="950188108" sldId="2215"/>
            <ac:spMk id="55" creationId="{24A4C4E5-5699-4419-ABC0-4A0F8E1CE0C6}"/>
          </ac:spMkLst>
        </pc:spChg>
        <pc:spChg chg="del mod">
          <ac:chgData name="Aurelien Domont" userId="6da7715ce44349b3" providerId="LiveId" clId="{26F08DD6-78BD-41A5-98D2-301BC67BA0D2}" dt="2023-04-27T02:18:09.304" v="5" actId="478"/>
          <ac:spMkLst>
            <pc:docMk/>
            <pc:sldMk cId="950188108" sldId="2215"/>
            <ac:spMk id="56" creationId="{2BF5A2E2-6C59-4FAB-A0E7-A82F2DF4F287}"/>
          </ac:spMkLst>
        </pc:spChg>
        <pc:picChg chg="del">
          <ac:chgData name="Aurelien Domont" userId="6da7715ce44349b3" providerId="LiveId" clId="{26F08DD6-78BD-41A5-98D2-301BC67BA0D2}" dt="2023-04-27T02:17:47.835" v="0" actId="478"/>
          <ac:picMkLst>
            <pc:docMk/>
            <pc:sldMk cId="950188108" sldId="2215"/>
            <ac:picMk id="4" creationId="{1AEA896A-A6A5-6CD5-8AE5-54AD22847CEE}"/>
          </ac:picMkLst>
        </pc:picChg>
        <pc:picChg chg="del">
          <ac:chgData name="Aurelien Domont" userId="6da7715ce44349b3" providerId="LiveId" clId="{26F08DD6-78BD-41A5-98D2-301BC67BA0D2}" dt="2023-04-27T02:17:47.835" v="0" actId="478"/>
          <ac:picMkLst>
            <pc:docMk/>
            <pc:sldMk cId="950188108" sldId="2215"/>
            <ac:picMk id="18" creationId="{F2C93D66-0331-5453-B363-93B2EAC0CCFD}"/>
          </ac:picMkLst>
        </pc:picChg>
        <pc:picChg chg="del">
          <ac:chgData name="Aurelien Domont" userId="6da7715ce44349b3" providerId="LiveId" clId="{26F08DD6-78BD-41A5-98D2-301BC67BA0D2}" dt="2023-04-27T02:17:47.835" v="0" actId="478"/>
          <ac:picMkLst>
            <pc:docMk/>
            <pc:sldMk cId="950188108" sldId="2215"/>
            <ac:picMk id="19" creationId="{23196DEB-1991-1534-6328-8AB8A2E8E285}"/>
          </ac:picMkLst>
        </pc:picChg>
        <pc:picChg chg="del">
          <ac:chgData name="Aurelien Domont" userId="6da7715ce44349b3" providerId="LiveId" clId="{26F08DD6-78BD-41A5-98D2-301BC67BA0D2}" dt="2023-04-27T02:17:47.835" v="0" actId="478"/>
          <ac:picMkLst>
            <pc:docMk/>
            <pc:sldMk cId="950188108" sldId="2215"/>
            <ac:picMk id="20" creationId="{E2FA958A-CF9A-E89D-65C2-EA6D2197DC2F}"/>
          </ac:picMkLst>
        </pc:picChg>
        <pc:picChg chg="del">
          <ac:chgData name="Aurelien Domont" userId="6da7715ce44349b3" providerId="LiveId" clId="{26F08DD6-78BD-41A5-98D2-301BC67BA0D2}" dt="2023-04-27T02:17:47.835" v="0" actId="478"/>
          <ac:picMkLst>
            <pc:docMk/>
            <pc:sldMk cId="950188108" sldId="2215"/>
            <ac:picMk id="21" creationId="{145005D0-7FDE-C207-C6FF-8A5FF697DD87}"/>
          </ac:picMkLst>
        </pc:picChg>
        <pc:picChg chg="del">
          <ac:chgData name="Aurelien Domont" userId="6da7715ce44349b3" providerId="LiveId" clId="{26F08DD6-78BD-41A5-98D2-301BC67BA0D2}" dt="2023-04-27T02:17:47.835" v="0" actId="478"/>
          <ac:picMkLst>
            <pc:docMk/>
            <pc:sldMk cId="950188108" sldId="2215"/>
            <ac:picMk id="23" creationId="{50796034-D117-469E-04A2-A5799073D08A}"/>
          </ac:picMkLst>
        </pc:picChg>
        <pc:cxnChg chg="del">
          <ac:chgData name="Aurelien Domont" userId="6da7715ce44349b3" providerId="LiveId" clId="{26F08DD6-78BD-41A5-98D2-301BC67BA0D2}" dt="2023-04-27T02:17:47.835" v="0" actId="478"/>
          <ac:cxnSpMkLst>
            <pc:docMk/>
            <pc:sldMk cId="950188108" sldId="2215"/>
            <ac:cxnSpMk id="44" creationId="{5152B55F-89DC-496E-8660-FCF33E4D0397}"/>
          </ac:cxnSpMkLst>
        </pc:cxnChg>
        <pc:cxnChg chg="del">
          <ac:chgData name="Aurelien Domont" userId="6da7715ce44349b3" providerId="LiveId" clId="{26F08DD6-78BD-41A5-98D2-301BC67BA0D2}" dt="2023-04-27T02:17:47.835" v="0" actId="478"/>
          <ac:cxnSpMkLst>
            <pc:docMk/>
            <pc:sldMk cId="950188108" sldId="2215"/>
            <ac:cxnSpMk id="49" creationId="{FD774A9D-C241-4724-8224-6C0398EC62EC}"/>
          </ac:cxnSpMkLst>
        </pc:cxnChg>
        <pc:cxnChg chg="del">
          <ac:chgData name="Aurelien Domont" userId="6da7715ce44349b3" providerId="LiveId" clId="{26F08DD6-78BD-41A5-98D2-301BC67BA0D2}" dt="2023-04-27T02:17:47.835" v="0" actId="478"/>
          <ac:cxnSpMkLst>
            <pc:docMk/>
            <pc:sldMk cId="950188108" sldId="2215"/>
            <ac:cxnSpMk id="52" creationId="{DC0672E6-F712-45F7-B497-5B00AC5DA79D}"/>
          </ac:cxnSpMkLst>
        </pc:cxnChg>
        <pc:cxnChg chg="del">
          <ac:chgData name="Aurelien Domont" userId="6da7715ce44349b3" providerId="LiveId" clId="{26F08DD6-78BD-41A5-98D2-301BC67BA0D2}" dt="2023-04-27T02:17:47.835" v="0" actId="478"/>
          <ac:cxnSpMkLst>
            <pc:docMk/>
            <pc:sldMk cId="950188108" sldId="2215"/>
            <ac:cxnSpMk id="54" creationId="{56FEFFA8-1322-4316-8368-416A234EF57E}"/>
          </ac:cxnSpMkLst>
        </pc:cxnChg>
        <pc:cxnChg chg="del">
          <ac:chgData name="Aurelien Domont" userId="6da7715ce44349b3" providerId="LiveId" clId="{26F08DD6-78BD-41A5-98D2-301BC67BA0D2}" dt="2023-04-27T02:17:47.835" v="0" actId="478"/>
          <ac:cxnSpMkLst>
            <pc:docMk/>
            <pc:sldMk cId="950188108" sldId="2215"/>
            <ac:cxnSpMk id="57" creationId="{872076B2-9DD3-4FD7-94CF-5BD31D235C15}"/>
          </ac:cxnSpMkLst>
        </pc:cxnChg>
      </pc:sldChg>
      <pc:sldChg chg="modSp add mod">
        <pc:chgData name="Aurelien Domont" userId="6da7715ce44349b3" providerId="LiveId" clId="{26F08DD6-78BD-41A5-98D2-301BC67BA0D2}" dt="2023-04-27T02:24:14.814" v="237" actId="207"/>
        <pc:sldMkLst>
          <pc:docMk/>
          <pc:sldMk cId="2226583221" sldId="2215"/>
        </pc:sldMkLst>
        <pc:spChg chg="mod">
          <ac:chgData name="Aurelien Domont" userId="6da7715ce44349b3" providerId="LiveId" clId="{26F08DD6-78BD-41A5-98D2-301BC67BA0D2}" dt="2023-04-27T02:24:14.814" v="237" actId="207"/>
          <ac:spMkLst>
            <pc:docMk/>
            <pc:sldMk cId="2226583221" sldId="2215"/>
            <ac:spMk id="3" creationId="{57B3B926-43D9-6A91-225A-27A3F4F2AF1C}"/>
          </ac:spMkLst>
        </pc:spChg>
      </pc:sldChg>
      <pc:sldChg chg="del">
        <pc:chgData name="Aurelien Domont" userId="6da7715ce44349b3" providerId="LiveId" clId="{26F08DD6-78BD-41A5-98D2-301BC67BA0D2}" dt="2023-04-27T02:18:59.659" v="81" actId="47"/>
        <pc:sldMkLst>
          <pc:docMk/>
          <pc:sldMk cId="2753049151" sldId="2511"/>
        </pc:sldMkLst>
      </pc:sldChg>
      <pc:sldChg chg="del">
        <pc:chgData name="Aurelien Domont" userId="6da7715ce44349b3" providerId="LiveId" clId="{26F08DD6-78BD-41A5-98D2-301BC67BA0D2}" dt="2023-04-27T02:19:05.955" v="83" actId="47"/>
        <pc:sldMkLst>
          <pc:docMk/>
          <pc:sldMk cId="1395698763" sldId="2512"/>
        </pc:sldMkLst>
      </pc:sldChg>
      <pc:sldChg chg="del">
        <pc:chgData name="Aurelien Domont" userId="6da7715ce44349b3" providerId="LiveId" clId="{26F08DD6-78BD-41A5-98D2-301BC67BA0D2}" dt="2023-04-27T02:19:11.582" v="85" actId="47"/>
        <pc:sldMkLst>
          <pc:docMk/>
          <pc:sldMk cId="2218751780" sldId="2513"/>
        </pc:sldMkLst>
      </pc:sldChg>
      <pc:sldChg chg="del">
        <pc:chgData name="Aurelien Domont" userId="6da7715ce44349b3" providerId="LiveId" clId="{26F08DD6-78BD-41A5-98D2-301BC67BA0D2}" dt="2023-04-27T02:19:16.853" v="87" actId="47"/>
        <pc:sldMkLst>
          <pc:docMk/>
          <pc:sldMk cId="2084959338" sldId="2514"/>
        </pc:sldMkLst>
      </pc:sldChg>
      <pc:sldChg chg="del">
        <pc:chgData name="Aurelien Domont" userId="6da7715ce44349b3" providerId="LiveId" clId="{26F08DD6-78BD-41A5-98D2-301BC67BA0D2}" dt="2023-04-27T02:19:25.083" v="89" actId="47"/>
        <pc:sldMkLst>
          <pc:docMk/>
          <pc:sldMk cId="3773191018" sldId="2515"/>
        </pc:sldMkLst>
      </pc:sldChg>
      <pc:sldChg chg="del">
        <pc:chgData name="Aurelien Domont" userId="6da7715ce44349b3" providerId="LiveId" clId="{26F08DD6-78BD-41A5-98D2-301BC67BA0D2}" dt="2023-04-27T02:19:31.966" v="91" actId="47"/>
        <pc:sldMkLst>
          <pc:docMk/>
          <pc:sldMk cId="1309967427" sldId="2516"/>
        </pc:sldMkLst>
      </pc:sldChg>
      <pc:sldChg chg="add del">
        <pc:chgData name="Aurelien Domont" userId="6da7715ce44349b3" providerId="LiveId" clId="{26F08DD6-78BD-41A5-98D2-301BC67BA0D2}" dt="2023-04-27T02:20:43.374" v="95" actId="47"/>
        <pc:sldMkLst>
          <pc:docMk/>
          <pc:sldMk cId="4214673886" sldId="2517"/>
        </pc:sldMkLst>
      </pc:sldChg>
      <pc:sldChg chg="modSp add del mod">
        <pc:chgData name="Aurelien Domont" userId="6da7715ce44349b3" providerId="LiveId" clId="{26F08DD6-78BD-41A5-98D2-301BC67BA0D2}" dt="2023-04-27T02:24:11.084" v="236" actId="47"/>
        <pc:sldMkLst>
          <pc:docMk/>
          <pc:sldMk cId="4142194914" sldId="2518"/>
        </pc:sldMkLst>
        <pc:spChg chg="mod">
          <ac:chgData name="Aurelien Domont" userId="6da7715ce44349b3" providerId="LiveId" clId="{26F08DD6-78BD-41A5-98D2-301BC67BA0D2}" dt="2023-04-27T02:20:49.661" v="96" actId="207"/>
          <ac:spMkLst>
            <pc:docMk/>
            <pc:sldMk cId="4142194914" sldId="2518"/>
            <ac:spMk id="3" creationId="{57B3B926-43D9-6A91-225A-27A3F4F2AF1C}"/>
          </ac:spMkLst>
        </pc:spChg>
      </pc:sldChg>
      <pc:sldChg chg="modSp add del mod">
        <pc:chgData name="Aurelien Domont" userId="6da7715ce44349b3" providerId="LiveId" clId="{26F08DD6-78BD-41A5-98D2-301BC67BA0D2}" dt="2023-04-27T02:24:20.215" v="239" actId="47"/>
        <pc:sldMkLst>
          <pc:docMk/>
          <pc:sldMk cId="1900497183" sldId="2519"/>
        </pc:sldMkLst>
        <pc:spChg chg="mod">
          <ac:chgData name="Aurelien Domont" userId="6da7715ce44349b3" providerId="LiveId" clId="{26F08DD6-78BD-41A5-98D2-301BC67BA0D2}" dt="2023-04-27T02:20:54.301" v="97" actId="207"/>
          <ac:spMkLst>
            <pc:docMk/>
            <pc:sldMk cId="1900497183" sldId="2519"/>
            <ac:spMk id="3" creationId="{57B3B926-43D9-6A91-225A-27A3F4F2AF1C}"/>
          </ac:spMkLst>
        </pc:spChg>
      </pc:sldChg>
      <pc:sldChg chg="modSp add del mod">
        <pc:chgData name="Aurelien Domont" userId="6da7715ce44349b3" providerId="LiveId" clId="{26F08DD6-78BD-41A5-98D2-301BC67BA0D2}" dt="2023-04-27T02:24:42.005" v="242" actId="47"/>
        <pc:sldMkLst>
          <pc:docMk/>
          <pc:sldMk cId="3622465150" sldId="2520"/>
        </pc:sldMkLst>
        <pc:spChg chg="mod">
          <ac:chgData name="Aurelien Domont" userId="6da7715ce44349b3" providerId="LiveId" clId="{26F08DD6-78BD-41A5-98D2-301BC67BA0D2}" dt="2023-04-27T02:22:17.237" v="185" actId="20577"/>
          <ac:spMkLst>
            <pc:docMk/>
            <pc:sldMk cId="3622465150" sldId="2520"/>
            <ac:spMk id="3" creationId="{57B3B926-43D9-6A91-225A-27A3F4F2AF1C}"/>
          </ac:spMkLst>
        </pc:spChg>
        <pc:spChg chg="mod">
          <ac:chgData name="Aurelien Domont" userId="6da7715ce44349b3" providerId="LiveId" clId="{26F08DD6-78BD-41A5-98D2-301BC67BA0D2}" dt="2023-04-27T02:22:25.941" v="205" actId="14100"/>
          <ac:spMkLst>
            <pc:docMk/>
            <pc:sldMk cId="3622465150" sldId="2520"/>
            <ac:spMk id="6" creationId="{BAD7243E-F3D8-6A3D-3C29-A8F247F2D370}"/>
          </ac:spMkLst>
        </pc:spChg>
      </pc:sldChg>
      <pc:sldChg chg="add del">
        <pc:chgData name="Aurelien Domont" userId="6da7715ce44349b3" providerId="LiveId" clId="{26F08DD6-78BD-41A5-98D2-301BC67BA0D2}" dt="2023-04-27T02:25:00.713" v="247" actId="47"/>
        <pc:sldMkLst>
          <pc:docMk/>
          <pc:sldMk cId="3689403307" sldId="2521"/>
        </pc:sldMkLst>
      </pc:sldChg>
      <pc:sldChg chg="add del">
        <pc:chgData name="Aurelien Domont" userId="6da7715ce44349b3" providerId="LiveId" clId="{26F08DD6-78BD-41A5-98D2-301BC67BA0D2}" dt="2023-04-27T02:25:15.361" v="250" actId="47"/>
        <pc:sldMkLst>
          <pc:docMk/>
          <pc:sldMk cId="665259134" sldId="2522"/>
        </pc:sldMkLst>
      </pc:sldChg>
      <pc:sldChg chg="modSp add mod">
        <pc:chgData name="Aurelien Domont" userId="6da7715ce44349b3" providerId="LiveId" clId="{26F08DD6-78BD-41A5-98D2-301BC67BA0D2}" dt="2023-04-27T02:23:57.499" v="231" actId="207"/>
        <pc:sldMkLst>
          <pc:docMk/>
          <pc:sldMk cId="707057330" sldId="2523"/>
        </pc:sldMkLst>
        <pc:spChg chg="mod">
          <ac:chgData name="Aurelien Domont" userId="6da7715ce44349b3" providerId="LiveId" clId="{26F08DD6-78BD-41A5-98D2-301BC67BA0D2}" dt="2023-04-27T02:23:57.499" v="231" actId="207"/>
          <ac:spMkLst>
            <pc:docMk/>
            <pc:sldMk cId="707057330" sldId="2523"/>
            <ac:spMk id="3" creationId="{57B3B926-43D9-6A91-225A-27A3F4F2AF1C}"/>
          </ac:spMkLst>
        </pc:spChg>
      </pc:sldChg>
      <pc:sldChg chg="modSp add mod">
        <pc:chgData name="Aurelien Domont" userId="6da7715ce44349b3" providerId="LiveId" clId="{26F08DD6-78BD-41A5-98D2-301BC67BA0D2}" dt="2023-04-27T02:24:06.248" v="234" actId="207"/>
        <pc:sldMkLst>
          <pc:docMk/>
          <pc:sldMk cId="3949344205" sldId="2524"/>
        </pc:sldMkLst>
        <pc:spChg chg="mod">
          <ac:chgData name="Aurelien Domont" userId="6da7715ce44349b3" providerId="LiveId" clId="{26F08DD6-78BD-41A5-98D2-301BC67BA0D2}" dt="2023-04-27T02:24:06.248" v="234" actId="207"/>
          <ac:spMkLst>
            <pc:docMk/>
            <pc:sldMk cId="3949344205" sldId="2524"/>
            <ac:spMk id="3" creationId="{57B3B926-43D9-6A91-225A-27A3F4F2AF1C}"/>
          </ac:spMkLst>
        </pc:spChg>
      </pc:sldChg>
      <pc:sldChg chg="modSp add mod">
        <pc:chgData name="Aurelien Domont" userId="6da7715ce44349b3" providerId="LiveId" clId="{26F08DD6-78BD-41A5-98D2-301BC67BA0D2}" dt="2023-04-27T02:24:23.656" v="240" actId="207"/>
        <pc:sldMkLst>
          <pc:docMk/>
          <pc:sldMk cId="2448253255" sldId="2525"/>
        </pc:sldMkLst>
        <pc:spChg chg="mod">
          <ac:chgData name="Aurelien Domont" userId="6da7715ce44349b3" providerId="LiveId" clId="{26F08DD6-78BD-41A5-98D2-301BC67BA0D2}" dt="2023-04-27T02:24:23.656" v="240" actId="207"/>
          <ac:spMkLst>
            <pc:docMk/>
            <pc:sldMk cId="2448253255" sldId="2525"/>
            <ac:spMk id="3" creationId="{57B3B926-43D9-6A91-225A-27A3F4F2AF1C}"/>
          </ac:spMkLst>
        </pc:spChg>
      </pc:sldChg>
      <pc:sldChg chg="modSp add mod">
        <pc:chgData name="Aurelien Domont" userId="6da7715ce44349b3" providerId="LiveId" clId="{26F08DD6-78BD-41A5-98D2-301BC67BA0D2}" dt="2023-04-27T02:24:45.784" v="243" actId="207"/>
        <pc:sldMkLst>
          <pc:docMk/>
          <pc:sldMk cId="1462459239" sldId="2526"/>
        </pc:sldMkLst>
        <pc:spChg chg="mod">
          <ac:chgData name="Aurelien Domont" userId="6da7715ce44349b3" providerId="LiveId" clId="{26F08DD6-78BD-41A5-98D2-301BC67BA0D2}" dt="2023-04-27T02:24:45.784" v="243" actId="207"/>
          <ac:spMkLst>
            <pc:docMk/>
            <pc:sldMk cId="1462459239" sldId="2526"/>
            <ac:spMk id="3" creationId="{57B3B926-43D9-6A91-225A-27A3F4F2AF1C}"/>
          </ac:spMkLst>
        </pc:spChg>
      </pc:sldChg>
      <pc:sldChg chg="modSp add mod">
        <pc:chgData name="Aurelien Domont" userId="6da7715ce44349b3" providerId="LiveId" clId="{26F08DD6-78BD-41A5-98D2-301BC67BA0D2}" dt="2023-04-27T02:24:54.001" v="245" actId="207"/>
        <pc:sldMkLst>
          <pc:docMk/>
          <pc:sldMk cId="397016213" sldId="2527"/>
        </pc:sldMkLst>
        <pc:spChg chg="mod">
          <ac:chgData name="Aurelien Domont" userId="6da7715ce44349b3" providerId="LiveId" clId="{26F08DD6-78BD-41A5-98D2-301BC67BA0D2}" dt="2023-04-27T02:24:54.001" v="245" actId="207"/>
          <ac:spMkLst>
            <pc:docMk/>
            <pc:sldMk cId="397016213" sldId="2527"/>
            <ac:spMk id="3" creationId="{57B3B926-43D9-6A91-225A-27A3F4F2AF1C}"/>
          </ac:spMkLst>
        </pc:spChg>
      </pc:sldChg>
      <pc:sldChg chg="modSp add mod">
        <pc:chgData name="Aurelien Domont" userId="6da7715ce44349b3" providerId="LiveId" clId="{26F08DD6-78BD-41A5-98D2-301BC67BA0D2}" dt="2023-04-27T02:25:05.261" v="248" actId="207"/>
        <pc:sldMkLst>
          <pc:docMk/>
          <pc:sldMk cId="3132751640" sldId="2528"/>
        </pc:sldMkLst>
        <pc:spChg chg="mod">
          <ac:chgData name="Aurelien Domont" userId="6da7715ce44349b3" providerId="LiveId" clId="{26F08DD6-78BD-41A5-98D2-301BC67BA0D2}" dt="2023-04-27T02:25:05.261" v="248" actId="207"/>
          <ac:spMkLst>
            <pc:docMk/>
            <pc:sldMk cId="3132751640" sldId="2528"/>
            <ac:spMk id="3" creationId="{57B3B926-43D9-6A91-225A-27A3F4F2AF1C}"/>
          </ac:spMkLst>
        </pc:spChg>
      </pc:sldChg>
      <pc:sldChg chg="modSp add mod">
        <pc:chgData name="Aurelien Domont" userId="6da7715ce44349b3" providerId="LiveId" clId="{26F08DD6-78BD-41A5-98D2-301BC67BA0D2}" dt="2023-04-27T02:25:18.645" v="251" actId="207"/>
        <pc:sldMkLst>
          <pc:docMk/>
          <pc:sldMk cId="3153918690" sldId="2529"/>
        </pc:sldMkLst>
        <pc:spChg chg="mod">
          <ac:chgData name="Aurelien Domont" userId="6da7715ce44349b3" providerId="LiveId" clId="{26F08DD6-78BD-41A5-98D2-301BC67BA0D2}" dt="2023-04-27T02:25:18.645" v="251" actId="207"/>
          <ac:spMkLst>
            <pc:docMk/>
            <pc:sldMk cId="3153918690" sldId="2529"/>
            <ac:spMk id="3" creationId="{57B3B926-43D9-6A91-225A-27A3F4F2AF1C}"/>
          </ac:spMkLst>
        </pc:spChg>
      </pc:sldChg>
      <pc:sldChg chg="modSp add mod">
        <pc:chgData name="Aurelien Domont" userId="6da7715ce44349b3" providerId="LiveId" clId="{26F08DD6-78BD-41A5-98D2-301BC67BA0D2}" dt="2023-05-05T05:39:03.519" v="280"/>
        <pc:sldMkLst>
          <pc:docMk/>
          <pc:sldMk cId="168297910" sldId="2530"/>
        </pc:sldMkLst>
        <pc:spChg chg="mod">
          <ac:chgData name="Aurelien Domont" userId="6da7715ce44349b3" providerId="LiveId" clId="{26F08DD6-78BD-41A5-98D2-301BC67BA0D2}" dt="2023-05-05T05:39:03.519" v="280"/>
          <ac:spMkLst>
            <pc:docMk/>
            <pc:sldMk cId="168297910" sldId="2530"/>
            <ac:spMk id="2" creationId="{5261080C-C60C-4746-B6B1-A9A4FFA86785}"/>
          </ac:spMkLst>
        </pc:spChg>
      </pc:sldChg>
    </pc:docChg>
  </pc:docChgLst>
  <pc:docChgLst>
    <pc:chgData name="Aurelien Domont" userId="6da7715ce44349b3" providerId="LiveId" clId="{6A8EEACC-F499-4F98-BDF5-6869C059A4CC}"/>
    <pc:docChg chg="custSel addSld delSld modSld">
      <pc:chgData name="Aurelien Domont" userId="6da7715ce44349b3" providerId="LiveId" clId="{6A8EEACC-F499-4F98-BDF5-6869C059A4CC}" dt="2023-05-25T01:12:09.050" v="69" actId="207"/>
      <pc:docMkLst>
        <pc:docMk/>
      </pc:docMkLst>
      <pc:sldChg chg="del">
        <pc:chgData name="Aurelien Domont" userId="6da7715ce44349b3" providerId="LiveId" clId="{6A8EEACC-F499-4F98-BDF5-6869C059A4CC}" dt="2023-05-25T01:10:32.573" v="3" actId="47"/>
        <pc:sldMkLst>
          <pc:docMk/>
          <pc:sldMk cId="1754585881" sldId="1598"/>
        </pc:sldMkLst>
      </pc:sldChg>
      <pc:sldChg chg="del">
        <pc:chgData name="Aurelien Domont" userId="6da7715ce44349b3" providerId="LiveId" clId="{6A8EEACC-F499-4F98-BDF5-6869C059A4CC}" dt="2023-05-25T01:08:25.295" v="1" actId="2696"/>
        <pc:sldMkLst>
          <pc:docMk/>
          <pc:sldMk cId="2643867341" sldId="1774"/>
        </pc:sldMkLst>
      </pc:sldChg>
      <pc:sldChg chg="del">
        <pc:chgData name="Aurelien Domont" userId="6da7715ce44349b3" providerId="LiveId" clId="{6A8EEACC-F499-4F98-BDF5-6869C059A4CC}" dt="2023-05-25T01:08:25.295" v="1" actId="2696"/>
        <pc:sldMkLst>
          <pc:docMk/>
          <pc:sldMk cId="1527696209" sldId="1775"/>
        </pc:sldMkLst>
      </pc:sldChg>
      <pc:sldChg chg="del">
        <pc:chgData name="Aurelien Domont" userId="6da7715ce44349b3" providerId="LiveId" clId="{6A8EEACC-F499-4F98-BDF5-6869C059A4CC}" dt="2023-05-25T01:08:25.295" v="1" actId="2696"/>
        <pc:sldMkLst>
          <pc:docMk/>
          <pc:sldMk cId="889802681" sldId="1776"/>
        </pc:sldMkLst>
      </pc:sldChg>
      <pc:sldChg chg="del">
        <pc:chgData name="Aurelien Domont" userId="6da7715ce44349b3" providerId="LiveId" clId="{6A8EEACC-F499-4F98-BDF5-6869C059A4CC}" dt="2023-05-25T01:08:25.295" v="1" actId="2696"/>
        <pc:sldMkLst>
          <pc:docMk/>
          <pc:sldMk cId="616373529" sldId="1777"/>
        </pc:sldMkLst>
      </pc:sldChg>
      <pc:sldChg chg="del">
        <pc:chgData name="Aurelien Domont" userId="6da7715ce44349b3" providerId="LiveId" clId="{6A8EEACC-F499-4F98-BDF5-6869C059A4CC}" dt="2023-05-25T01:08:25.295" v="1" actId="2696"/>
        <pc:sldMkLst>
          <pc:docMk/>
          <pc:sldMk cId="2507375222" sldId="1778"/>
        </pc:sldMkLst>
      </pc:sldChg>
      <pc:sldChg chg="del">
        <pc:chgData name="Aurelien Domont" userId="6da7715ce44349b3" providerId="LiveId" clId="{6A8EEACC-F499-4F98-BDF5-6869C059A4CC}" dt="2023-05-25T01:08:25.295" v="1" actId="2696"/>
        <pc:sldMkLst>
          <pc:docMk/>
          <pc:sldMk cId="1667953037" sldId="1779"/>
        </pc:sldMkLst>
      </pc:sldChg>
      <pc:sldChg chg="del">
        <pc:chgData name="Aurelien Domont" userId="6da7715ce44349b3" providerId="LiveId" clId="{6A8EEACC-F499-4F98-BDF5-6869C059A4CC}" dt="2023-05-25T01:08:25.295" v="1" actId="2696"/>
        <pc:sldMkLst>
          <pc:docMk/>
          <pc:sldMk cId="773542165" sldId="1780"/>
        </pc:sldMkLst>
      </pc:sldChg>
      <pc:sldChg chg="addSp delSp modSp mod">
        <pc:chgData name="Aurelien Domont" userId="6da7715ce44349b3" providerId="LiveId" clId="{6A8EEACC-F499-4F98-BDF5-6869C059A4CC}" dt="2023-05-25T01:12:03.497" v="68" actId="207"/>
        <pc:sldMkLst>
          <pc:docMk/>
          <pc:sldMk cId="2226583221" sldId="2215"/>
        </pc:sldMkLst>
        <pc:spChg chg="del">
          <ac:chgData name="Aurelien Domont" userId="6da7715ce44349b3" providerId="LiveId" clId="{6A8EEACC-F499-4F98-BDF5-6869C059A4CC}" dt="2023-05-25T01:11:29.222" v="59" actId="478"/>
          <ac:spMkLst>
            <pc:docMk/>
            <pc:sldMk cId="2226583221" sldId="2215"/>
            <ac:spMk id="3" creationId="{57B3B926-43D9-6A91-225A-27A3F4F2AF1C}"/>
          </ac:spMkLst>
        </pc:spChg>
        <pc:spChg chg="add del mod">
          <ac:chgData name="Aurelien Domont" userId="6da7715ce44349b3" providerId="LiveId" clId="{6A8EEACC-F499-4F98-BDF5-6869C059A4CC}" dt="2023-05-25T01:11:31.245" v="61" actId="478"/>
          <ac:spMkLst>
            <pc:docMk/>
            <pc:sldMk cId="2226583221" sldId="2215"/>
            <ac:spMk id="4" creationId="{31134DB6-751B-E245-9C3F-BDAE0BB9EBAC}"/>
          </ac:spMkLst>
        </pc:spChg>
        <pc:spChg chg="del">
          <ac:chgData name="Aurelien Domont" userId="6da7715ce44349b3" providerId="LiveId" clId="{6A8EEACC-F499-4F98-BDF5-6869C059A4CC}" dt="2023-05-25T01:11:29.222" v="59" actId="478"/>
          <ac:spMkLst>
            <pc:docMk/>
            <pc:sldMk cId="2226583221" sldId="2215"/>
            <ac:spMk id="6" creationId="{BAD7243E-F3D8-6A3D-3C29-A8F247F2D370}"/>
          </ac:spMkLst>
        </pc:spChg>
        <pc:spChg chg="add mod">
          <ac:chgData name="Aurelien Domont" userId="6da7715ce44349b3" providerId="LiveId" clId="{6A8EEACC-F499-4F98-BDF5-6869C059A4CC}" dt="2023-05-25T01:12:03.497" v="68" actId="207"/>
          <ac:spMkLst>
            <pc:docMk/>
            <pc:sldMk cId="2226583221" sldId="2215"/>
            <ac:spMk id="7" creationId="{0EAC8984-78B2-02F9-8A1C-A15168FE5866}"/>
          </ac:spMkLst>
        </pc:spChg>
        <pc:spChg chg="add mod">
          <ac:chgData name="Aurelien Domont" userId="6da7715ce44349b3" providerId="LiveId" clId="{6A8EEACC-F499-4F98-BDF5-6869C059A4CC}" dt="2023-05-25T01:11:29.443" v="60"/>
          <ac:spMkLst>
            <pc:docMk/>
            <pc:sldMk cId="2226583221" sldId="2215"/>
            <ac:spMk id="8" creationId="{99F56AE0-3467-F056-206D-B318AA8D2254}"/>
          </ac:spMkLst>
        </pc:spChg>
      </pc:sldChg>
      <pc:sldChg chg="del">
        <pc:chgData name="Aurelien Domont" userId="6da7715ce44349b3" providerId="LiveId" clId="{6A8EEACC-F499-4F98-BDF5-6869C059A4CC}" dt="2023-05-25T01:08:25.295" v="1" actId="2696"/>
        <pc:sldMkLst>
          <pc:docMk/>
          <pc:sldMk cId="2826435675" sldId="2264"/>
        </pc:sldMkLst>
      </pc:sldChg>
      <pc:sldChg chg="del">
        <pc:chgData name="Aurelien Domont" userId="6da7715ce44349b3" providerId="LiveId" clId="{6A8EEACC-F499-4F98-BDF5-6869C059A4CC}" dt="2023-05-25T01:08:25.295" v="1" actId="2696"/>
        <pc:sldMkLst>
          <pc:docMk/>
          <pc:sldMk cId="2358097341" sldId="2266"/>
        </pc:sldMkLst>
      </pc:sldChg>
      <pc:sldChg chg="del">
        <pc:chgData name="Aurelien Domont" userId="6da7715ce44349b3" providerId="LiveId" clId="{6A8EEACC-F499-4F98-BDF5-6869C059A4CC}" dt="2023-05-25T01:08:25.295" v="1" actId="2696"/>
        <pc:sldMkLst>
          <pc:docMk/>
          <pc:sldMk cId="2417600701" sldId="2267"/>
        </pc:sldMkLst>
      </pc:sldChg>
      <pc:sldChg chg="del">
        <pc:chgData name="Aurelien Domont" userId="6da7715ce44349b3" providerId="LiveId" clId="{6A8EEACC-F499-4F98-BDF5-6869C059A4CC}" dt="2023-05-25T01:08:25.295" v="1" actId="2696"/>
        <pc:sldMkLst>
          <pc:docMk/>
          <pc:sldMk cId="3394476268" sldId="2268"/>
        </pc:sldMkLst>
      </pc:sldChg>
      <pc:sldChg chg="del">
        <pc:chgData name="Aurelien Domont" userId="6da7715ce44349b3" providerId="LiveId" clId="{6A8EEACC-F499-4F98-BDF5-6869C059A4CC}" dt="2023-05-25T01:08:25.295" v="1" actId="2696"/>
        <pc:sldMkLst>
          <pc:docMk/>
          <pc:sldMk cId="2046597082" sldId="2269"/>
        </pc:sldMkLst>
      </pc:sldChg>
      <pc:sldChg chg="del">
        <pc:chgData name="Aurelien Domont" userId="6da7715ce44349b3" providerId="LiveId" clId="{6A8EEACC-F499-4F98-BDF5-6869C059A4CC}" dt="2023-05-25T01:08:25.295" v="1" actId="2696"/>
        <pc:sldMkLst>
          <pc:docMk/>
          <pc:sldMk cId="2892163911" sldId="2270"/>
        </pc:sldMkLst>
      </pc:sldChg>
      <pc:sldChg chg="del">
        <pc:chgData name="Aurelien Domont" userId="6da7715ce44349b3" providerId="LiveId" clId="{6A8EEACC-F499-4F98-BDF5-6869C059A4CC}" dt="2023-05-25T01:08:12.883" v="0" actId="47"/>
        <pc:sldMkLst>
          <pc:docMk/>
          <pc:sldMk cId="2872879580" sldId="2461"/>
        </pc:sldMkLst>
      </pc:sldChg>
      <pc:sldChg chg="del">
        <pc:chgData name="Aurelien Domont" userId="6da7715ce44349b3" providerId="LiveId" clId="{6A8EEACC-F499-4F98-BDF5-6869C059A4CC}" dt="2023-05-25T01:08:12.883" v="0" actId="47"/>
        <pc:sldMkLst>
          <pc:docMk/>
          <pc:sldMk cId="755354829" sldId="2462"/>
        </pc:sldMkLst>
      </pc:sldChg>
      <pc:sldChg chg="del">
        <pc:chgData name="Aurelien Domont" userId="6da7715ce44349b3" providerId="LiveId" clId="{6A8EEACC-F499-4F98-BDF5-6869C059A4CC}" dt="2023-05-25T01:08:12.883" v="0" actId="47"/>
        <pc:sldMkLst>
          <pc:docMk/>
          <pc:sldMk cId="416768504" sldId="2463"/>
        </pc:sldMkLst>
      </pc:sldChg>
      <pc:sldChg chg="del">
        <pc:chgData name="Aurelien Domont" userId="6da7715ce44349b3" providerId="LiveId" clId="{6A8EEACC-F499-4F98-BDF5-6869C059A4CC}" dt="2023-05-25T01:08:12.883" v="0" actId="47"/>
        <pc:sldMkLst>
          <pc:docMk/>
          <pc:sldMk cId="1759724464" sldId="2464"/>
        </pc:sldMkLst>
      </pc:sldChg>
      <pc:sldChg chg="del">
        <pc:chgData name="Aurelien Domont" userId="6da7715ce44349b3" providerId="LiveId" clId="{6A8EEACC-F499-4F98-BDF5-6869C059A4CC}" dt="2023-05-25T01:08:12.883" v="0" actId="47"/>
        <pc:sldMkLst>
          <pc:docMk/>
          <pc:sldMk cId="550690529" sldId="2465"/>
        </pc:sldMkLst>
      </pc:sldChg>
      <pc:sldChg chg="del">
        <pc:chgData name="Aurelien Domont" userId="6da7715ce44349b3" providerId="LiveId" clId="{6A8EEACC-F499-4F98-BDF5-6869C059A4CC}" dt="2023-05-25T01:08:12.883" v="0" actId="47"/>
        <pc:sldMkLst>
          <pc:docMk/>
          <pc:sldMk cId="2368832898" sldId="2466"/>
        </pc:sldMkLst>
      </pc:sldChg>
      <pc:sldChg chg="del">
        <pc:chgData name="Aurelien Domont" userId="6da7715ce44349b3" providerId="LiveId" clId="{6A8EEACC-F499-4F98-BDF5-6869C059A4CC}" dt="2023-05-25T01:08:12.883" v="0" actId="47"/>
        <pc:sldMkLst>
          <pc:docMk/>
          <pc:sldMk cId="2209286233" sldId="2468"/>
        </pc:sldMkLst>
      </pc:sldChg>
      <pc:sldChg chg="del">
        <pc:chgData name="Aurelien Domont" userId="6da7715ce44349b3" providerId="LiveId" clId="{6A8EEACC-F499-4F98-BDF5-6869C059A4CC}" dt="2023-05-25T01:08:12.883" v="0" actId="47"/>
        <pc:sldMkLst>
          <pc:docMk/>
          <pc:sldMk cId="1326508470" sldId="2469"/>
        </pc:sldMkLst>
      </pc:sldChg>
      <pc:sldChg chg="del">
        <pc:chgData name="Aurelien Domont" userId="6da7715ce44349b3" providerId="LiveId" clId="{6A8EEACC-F499-4F98-BDF5-6869C059A4CC}" dt="2023-05-25T01:08:12.883" v="0" actId="47"/>
        <pc:sldMkLst>
          <pc:docMk/>
          <pc:sldMk cId="1580962293" sldId="2482"/>
        </pc:sldMkLst>
      </pc:sldChg>
      <pc:sldChg chg="del">
        <pc:chgData name="Aurelien Domont" userId="6da7715ce44349b3" providerId="LiveId" clId="{6A8EEACC-F499-4F98-BDF5-6869C059A4CC}" dt="2023-05-25T01:08:12.883" v="0" actId="47"/>
        <pc:sldMkLst>
          <pc:docMk/>
          <pc:sldMk cId="2257549913" sldId="2483"/>
        </pc:sldMkLst>
      </pc:sldChg>
      <pc:sldChg chg="del">
        <pc:chgData name="Aurelien Domont" userId="6da7715ce44349b3" providerId="LiveId" clId="{6A8EEACC-F499-4F98-BDF5-6869C059A4CC}" dt="2023-05-25T01:08:12.883" v="0" actId="47"/>
        <pc:sldMkLst>
          <pc:docMk/>
          <pc:sldMk cId="1422224889" sldId="2484"/>
        </pc:sldMkLst>
      </pc:sldChg>
      <pc:sldChg chg="del">
        <pc:chgData name="Aurelien Domont" userId="6da7715ce44349b3" providerId="LiveId" clId="{6A8EEACC-F499-4F98-BDF5-6869C059A4CC}" dt="2023-05-25T01:08:12.883" v="0" actId="47"/>
        <pc:sldMkLst>
          <pc:docMk/>
          <pc:sldMk cId="3264334355" sldId="2485"/>
        </pc:sldMkLst>
      </pc:sldChg>
      <pc:sldChg chg="del">
        <pc:chgData name="Aurelien Domont" userId="6da7715ce44349b3" providerId="LiveId" clId="{6A8EEACC-F499-4F98-BDF5-6869C059A4CC}" dt="2023-05-25T01:08:12.883" v="0" actId="47"/>
        <pc:sldMkLst>
          <pc:docMk/>
          <pc:sldMk cId="2701736058" sldId="2486"/>
        </pc:sldMkLst>
      </pc:sldChg>
      <pc:sldChg chg="del">
        <pc:chgData name="Aurelien Domont" userId="6da7715ce44349b3" providerId="LiveId" clId="{6A8EEACC-F499-4F98-BDF5-6869C059A4CC}" dt="2023-05-25T01:08:12.883" v="0" actId="47"/>
        <pc:sldMkLst>
          <pc:docMk/>
          <pc:sldMk cId="1091650488" sldId="2488"/>
        </pc:sldMkLst>
      </pc:sldChg>
      <pc:sldChg chg="del">
        <pc:chgData name="Aurelien Domont" userId="6da7715ce44349b3" providerId="LiveId" clId="{6A8EEACC-F499-4F98-BDF5-6869C059A4CC}" dt="2023-05-25T01:08:12.883" v="0" actId="47"/>
        <pc:sldMkLst>
          <pc:docMk/>
          <pc:sldMk cId="1506518980" sldId="2489"/>
        </pc:sldMkLst>
      </pc:sldChg>
      <pc:sldChg chg="del">
        <pc:chgData name="Aurelien Domont" userId="6da7715ce44349b3" providerId="LiveId" clId="{6A8EEACC-F499-4F98-BDF5-6869C059A4CC}" dt="2023-05-25T01:08:12.883" v="0" actId="47"/>
        <pc:sldMkLst>
          <pc:docMk/>
          <pc:sldMk cId="2430447879" sldId="2490"/>
        </pc:sldMkLst>
      </pc:sldChg>
      <pc:sldChg chg="del">
        <pc:chgData name="Aurelien Domont" userId="6da7715ce44349b3" providerId="LiveId" clId="{6A8EEACC-F499-4F98-BDF5-6869C059A4CC}" dt="2023-05-25T01:08:12.883" v="0" actId="47"/>
        <pc:sldMkLst>
          <pc:docMk/>
          <pc:sldMk cId="2438314809" sldId="2503"/>
        </pc:sldMkLst>
      </pc:sldChg>
      <pc:sldChg chg="del">
        <pc:chgData name="Aurelien Domont" userId="6da7715ce44349b3" providerId="LiveId" clId="{6A8EEACC-F499-4F98-BDF5-6869C059A4CC}" dt="2023-05-25T01:08:12.883" v="0" actId="47"/>
        <pc:sldMkLst>
          <pc:docMk/>
          <pc:sldMk cId="2221893605" sldId="2504"/>
        </pc:sldMkLst>
      </pc:sldChg>
      <pc:sldChg chg="del">
        <pc:chgData name="Aurelien Domont" userId="6da7715ce44349b3" providerId="LiveId" clId="{6A8EEACC-F499-4F98-BDF5-6869C059A4CC}" dt="2023-05-25T01:08:12.883" v="0" actId="47"/>
        <pc:sldMkLst>
          <pc:docMk/>
          <pc:sldMk cId="3112449534" sldId="2505"/>
        </pc:sldMkLst>
      </pc:sldChg>
      <pc:sldChg chg="del">
        <pc:chgData name="Aurelien Domont" userId="6da7715ce44349b3" providerId="LiveId" clId="{6A8EEACC-F499-4F98-BDF5-6869C059A4CC}" dt="2023-05-25T01:08:12.883" v="0" actId="47"/>
        <pc:sldMkLst>
          <pc:docMk/>
          <pc:sldMk cId="3906538238" sldId="2508"/>
        </pc:sldMkLst>
      </pc:sldChg>
      <pc:sldChg chg="del">
        <pc:chgData name="Aurelien Domont" userId="6da7715ce44349b3" providerId="LiveId" clId="{6A8EEACC-F499-4F98-BDF5-6869C059A4CC}" dt="2023-05-25T01:08:12.883" v="0" actId="47"/>
        <pc:sldMkLst>
          <pc:docMk/>
          <pc:sldMk cId="1407103359" sldId="2509"/>
        </pc:sldMkLst>
      </pc:sldChg>
      <pc:sldChg chg="del">
        <pc:chgData name="Aurelien Domont" userId="6da7715ce44349b3" providerId="LiveId" clId="{6A8EEACC-F499-4F98-BDF5-6869C059A4CC}" dt="2023-05-25T01:08:12.883" v="0" actId="47"/>
        <pc:sldMkLst>
          <pc:docMk/>
          <pc:sldMk cId="1206263927" sldId="2510"/>
        </pc:sldMkLst>
      </pc:sldChg>
      <pc:sldChg chg="del">
        <pc:chgData name="Aurelien Domont" userId="6da7715ce44349b3" providerId="LiveId" clId="{6A8EEACC-F499-4F98-BDF5-6869C059A4CC}" dt="2023-05-25T01:11:40.879" v="65" actId="47"/>
        <pc:sldMkLst>
          <pc:docMk/>
          <pc:sldMk cId="707057330" sldId="2523"/>
        </pc:sldMkLst>
      </pc:sldChg>
      <pc:sldChg chg="del">
        <pc:chgData name="Aurelien Domont" userId="6da7715ce44349b3" providerId="LiveId" clId="{6A8EEACC-F499-4F98-BDF5-6869C059A4CC}" dt="2023-05-25T01:11:37.096" v="63" actId="47"/>
        <pc:sldMkLst>
          <pc:docMk/>
          <pc:sldMk cId="3949344205" sldId="2524"/>
        </pc:sldMkLst>
      </pc:sldChg>
      <pc:sldChg chg="addSp delSp modSp mod">
        <pc:chgData name="Aurelien Domont" userId="6da7715ce44349b3" providerId="LiveId" clId="{6A8EEACC-F499-4F98-BDF5-6869C059A4CC}" dt="2023-05-25T01:12:09.050" v="69" actId="207"/>
        <pc:sldMkLst>
          <pc:docMk/>
          <pc:sldMk cId="2448253255" sldId="2525"/>
        </pc:sldMkLst>
        <pc:spChg chg="del">
          <ac:chgData name="Aurelien Domont" userId="6da7715ce44349b3" providerId="LiveId" clId="{6A8EEACC-F499-4F98-BDF5-6869C059A4CC}" dt="2023-05-25T01:11:16.167" v="55" actId="478"/>
          <ac:spMkLst>
            <pc:docMk/>
            <pc:sldMk cId="2448253255" sldId="2525"/>
            <ac:spMk id="3" creationId="{57B3B926-43D9-6A91-225A-27A3F4F2AF1C}"/>
          </ac:spMkLst>
        </pc:spChg>
        <pc:spChg chg="add del mod">
          <ac:chgData name="Aurelien Domont" userId="6da7715ce44349b3" providerId="LiveId" clId="{6A8EEACC-F499-4F98-BDF5-6869C059A4CC}" dt="2023-05-25T01:11:18.910" v="57" actId="478"/>
          <ac:spMkLst>
            <pc:docMk/>
            <pc:sldMk cId="2448253255" sldId="2525"/>
            <ac:spMk id="4" creationId="{3D81219C-2A12-77F7-EC40-1764676CF3CC}"/>
          </ac:spMkLst>
        </pc:spChg>
        <pc:spChg chg="del">
          <ac:chgData name="Aurelien Domont" userId="6da7715ce44349b3" providerId="LiveId" clId="{6A8EEACC-F499-4F98-BDF5-6869C059A4CC}" dt="2023-05-25T01:11:16.167" v="55" actId="478"/>
          <ac:spMkLst>
            <pc:docMk/>
            <pc:sldMk cId="2448253255" sldId="2525"/>
            <ac:spMk id="6" creationId="{BAD7243E-F3D8-6A3D-3C29-A8F247F2D370}"/>
          </ac:spMkLst>
        </pc:spChg>
        <pc:spChg chg="add mod">
          <ac:chgData name="Aurelien Domont" userId="6da7715ce44349b3" providerId="LiveId" clId="{6A8EEACC-F499-4F98-BDF5-6869C059A4CC}" dt="2023-05-25T01:12:09.050" v="69" actId="207"/>
          <ac:spMkLst>
            <pc:docMk/>
            <pc:sldMk cId="2448253255" sldId="2525"/>
            <ac:spMk id="7" creationId="{7DC63F23-A1E1-AB6A-4F55-0603299770B4}"/>
          </ac:spMkLst>
        </pc:spChg>
        <pc:spChg chg="add mod">
          <ac:chgData name="Aurelien Domont" userId="6da7715ce44349b3" providerId="LiveId" clId="{6A8EEACC-F499-4F98-BDF5-6869C059A4CC}" dt="2023-05-25T01:11:16.527" v="56"/>
          <ac:spMkLst>
            <pc:docMk/>
            <pc:sldMk cId="2448253255" sldId="2525"/>
            <ac:spMk id="8" creationId="{A263BA67-2716-FEDA-5C48-045774306E4B}"/>
          </ac:spMkLst>
        </pc:spChg>
      </pc:sldChg>
      <pc:sldChg chg="modSp mod">
        <pc:chgData name="Aurelien Domont" userId="6da7715ce44349b3" providerId="LiveId" clId="{6A8EEACC-F499-4F98-BDF5-6869C059A4CC}" dt="2023-05-25T01:11:07.588" v="54" actId="1036"/>
        <pc:sldMkLst>
          <pc:docMk/>
          <pc:sldMk cId="1462459239" sldId="2526"/>
        </pc:sldMkLst>
        <pc:spChg chg="mod">
          <ac:chgData name="Aurelien Domont" userId="6da7715ce44349b3" providerId="LiveId" clId="{6A8EEACC-F499-4F98-BDF5-6869C059A4CC}" dt="2023-05-25T01:11:07.588" v="54" actId="1036"/>
          <ac:spMkLst>
            <pc:docMk/>
            <pc:sldMk cId="1462459239" sldId="2526"/>
            <ac:spMk id="3" creationId="{57B3B926-43D9-6A91-225A-27A3F4F2AF1C}"/>
          </ac:spMkLst>
        </pc:spChg>
        <pc:spChg chg="mod">
          <ac:chgData name="Aurelien Domont" userId="6da7715ce44349b3" providerId="LiveId" clId="{6A8EEACC-F499-4F98-BDF5-6869C059A4CC}" dt="2023-05-25T01:11:07.588" v="54" actId="1036"/>
          <ac:spMkLst>
            <pc:docMk/>
            <pc:sldMk cId="1462459239" sldId="2526"/>
            <ac:spMk id="6" creationId="{BAD7243E-F3D8-6A3D-3C29-A8F247F2D370}"/>
          </ac:spMkLst>
        </pc:spChg>
      </pc:sldChg>
      <pc:sldChg chg="del">
        <pc:chgData name="Aurelien Domont" userId="6da7715ce44349b3" providerId="LiveId" clId="{6A8EEACC-F499-4F98-BDF5-6869C059A4CC}" dt="2023-05-25T01:10:32.507" v="2" actId="47"/>
        <pc:sldMkLst>
          <pc:docMk/>
          <pc:sldMk cId="397016213" sldId="2527"/>
        </pc:sldMkLst>
      </pc:sldChg>
      <pc:sldChg chg="del">
        <pc:chgData name="Aurelien Domont" userId="6da7715ce44349b3" providerId="LiveId" clId="{6A8EEACC-F499-4F98-BDF5-6869C059A4CC}" dt="2023-05-25T01:08:12.883" v="0" actId="47"/>
        <pc:sldMkLst>
          <pc:docMk/>
          <pc:sldMk cId="3132751640" sldId="2528"/>
        </pc:sldMkLst>
      </pc:sldChg>
      <pc:sldChg chg="del">
        <pc:chgData name="Aurelien Domont" userId="6da7715ce44349b3" providerId="LiveId" clId="{6A8EEACC-F499-4F98-BDF5-6869C059A4CC}" dt="2023-05-25T01:08:12.883" v="0" actId="47"/>
        <pc:sldMkLst>
          <pc:docMk/>
          <pc:sldMk cId="3153918690" sldId="2529"/>
        </pc:sldMkLst>
      </pc:sldChg>
      <pc:sldChg chg="modSp add mod">
        <pc:chgData name="Aurelien Domont" userId="6da7715ce44349b3" providerId="LiveId" clId="{6A8EEACC-F499-4F98-BDF5-6869C059A4CC}" dt="2023-05-25T01:11:59.963" v="67" actId="207"/>
        <pc:sldMkLst>
          <pc:docMk/>
          <pc:sldMk cId="3455041166" sldId="2531"/>
        </pc:sldMkLst>
        <pc:spChg chg="mod">
          <ac:chgData name="Aurelien Domont" userId="6da7715ce44349b3" providerId="LiveId" clId="{6A8EEACC-F499-4F98-BDF5-6869C059A4CC}" dt="2023-05-25T01:11:59.963" v="67" actId="207"/>
          <ac:spMkLst>
            <pc:docMk/>
            <pc:sldMk cId="3455041166" sldId="2531"/>
            <ac:spMk id="7" creationId="{0EAC8984-78B2-02F9-8A1C-A15168FE5866}"/>
          </ac:spMkLst>
        </pc:spChg>
      </pc:sldChg>
      <pc:sldChg chg="modSp add mod">
        <pc:chgData name="Aurelien Domont" userId="6da7715ce44349b3" providerId="LiveId" clId="{6A8EEACC-F499-4F98-BDF5-6869C059A4CC}" dt="2023-05-25T01:11:48.478" v="66" actId="207"/>
        <pc:sldMkLst>
          <pc:docMk/>
          <pc:sldMk cId="1530396309" sldId="2532"/>
        </pc:sldMkLst>
        <pc:spChg chg="mod">
          <ac:chgData name="Aurelien Domont" userId="6da7715ce44349b3" providerId="LiveId" clId="{6A8EEACC-F499-4F98-BDF5-6869C059A4CC}" dt="2023-05-25T01:11:48.478" v="66" actId="207"/>
          <ac:spMkLst>
            <pc:docMk/>
            <pc:sldMk cId="1530396309" sldId="2532"/>
            <ac:spMk id="7" creationId="{0EAC8984-78B2-02F9-8A1C-A15168FE5866}"/>
          </ac:spMkLst>
        </pc:spChg>
      </pc:sldChg>
    </pc:docChg>
  </pc:docChgLst>
  <pc:docChgLst>
    <pc:chgData name="Aurelien Domont" userId="6da7715ce44349b3" providerId="LiveId" clId="{C18CC5C4-3AAC-491D-9097-885406CBF5DB}"/>
    <pc:docChg chg="custSel addSld delSld modSld">
      <pc:chgData name="Aurelien Domont" userId="6da7715ce44349b3" providerId="LiveId" clId="{C18CC5C4-3AAC-491D-9097-885406CBF5DB}" dt="2021-05-04T04:11:38.160" v="272" actId="478"/>
      <pc:docMkLst>
        <pc:docMk/>
      </pc:docMkLst>
      <pc:sldChg chg="modSp mod">
        <pc:chgData name="Aurelien Domont" userId="6da7715ce44349b3" providerId="LiveId" clId="{C18CC5C4-3AAC-491D-9097-885406CBF5DB}" dt="2021-05-04T03:22:26.865" v="21" actId="20577"/>
        <pc:sldMkLst>
          <pc:docMk/>
          <pc:sldMk cId="3131901387" sldId="256"/>
        </pc:sldMkLst>
        <pc:spChg chg="mod">
          <ac:chgData name="Aurelien Domont" userId="6da7715ce44349b3" providerId="LiveId" clId="{C18CC5C4-3AAC-491D-9097-885406CBF5DB}" dt="2021-05-04T03:22:26.865" v="21" actId="20577"/>
          <ac:spMkLst>
            <pc:docMk/>
            <pc:sldMk cId="3131901387" sldId="256"/>
            <ac:spMk id="2" creationId="{5261080C-C60C-4746-B6B1-A9A4FFA86785}"/>
          </ac:spMkLst>
        </pc:spChg>
      </pc:sldChg>
      <pc:sldChg chg="del">
        <pc:chgData name="Aurelien Domont" userId="6da7715ce44349b3" providerId="LiveId" clId="{C18CC5C4-3AAC-491D-9097-885406CBF5DB}" dt="2021-05-04T03:29:51.423" v="270" actId="47"/>
        <pc:sldMkLst>
          <pc:docMk/>
          <pc:sldMk cId="3692499981" sldId="1597"/>
        </pc:sldMkLst>
      </pc:sldChg>
      <pc:sldChg chg="del">
        <pc:chgData name="Aurelien Domont" userId="6da7715ce44349b3" providerId="LiveId" clId="{C18CC5C4-3AAC-491D-9097-885406CBF5DB}" dt="2021-05-04T03:29:41.764" v="269" actId="47"/>
        <pc:sldMkLst>
          <pc:docMk/>
          <pc:sldMk cId="1754585881" sldId="1598"/>
        </pc:sldMkLst>
      </pc:sldChg>
      <pc:sldChg chg="del">
        <pc:chgData name="Aurelien Domont" userId="6da7715ce44349b3" providerId="LiveId" clId="{C18CC5C4-3AAC-491D-9097-885406CBF5DB}" dt="2021-05-04T03:29:41.764" v="269" actId="47"/>
        <pc:sldMkLst>
          <pc:docMk/>
          <pc:sldMk cId="748962572" sldId="1599"/>
        </pc:sldMkLst>
      </pc:sldChg>
      <pc:sldChg chg="del">
        <pc:chgData name="Aurelien Domont" userId="6da7715ce44349b3" providerId="LiveId" clId="{C18CC5C4-3AAC-491D-9097-885406CBF5DB}" dt="2021-05-04T03:29:41.764" v="269" actId="47"/>
        <pc:sldMkLst>
          <pc:docMk/>
          <pc:sldMk cId="2853806433" sldId="1600"/>
        </pc:sldMkLst>
      </pc:sldChg>
      <pc:sldChg chg="modSp mod">
        <pc:chgData name="Aurelien Domont" userId="6da7715ce44349b3" providerId="LiveId" clId="{C18CC5C4-3AAC-491D-9097-885406CBF5DB}" dt="2021-05-04T03:28:04.054" v="247" actId="20577"/>
        <pc:sldMkLst>
          <pc:docMk/>
          <pc:sldMk cId="3324303879" sldId="1917"/>
        </pc:sldMkLst>
        <pc:spChg chg="mod">
          <ac:chgData name="Aurelien Domont" userId="6da7715ce44349b3" providerId="LiveId" clId="{C18CC5C4-3AAC-491D-9097-885406CBF5DB}" dt="2021-05-04T03:28:04.054" v="247" actId="20577"/>
          <ac:spMkLst>
            <pc:docMk/>
            <pc:sldMk cId="3324303879" sldId="1917"/>
            <ac:spMk id="14" creationId="{956AA4B1-A1E2-4421-8BDC-FFA14C801B6B}"/>
          </ac:spMkLst>
        </pc:spChg>
        <pc:spChg chg="mod">
          <ac:chgData name="Aurelien Domont" userId="6da7715ce44349b3" providerId="LiveId" clId="{C18CC5C4-3AAC-491D-9097-885406CBF5DB}" dt="2021-05-04T03:24:41.474" v="69" actId="20577"/>
          <ac:spMkLst>
            <pc:docMk/>
            <pc:sldMk cId="3324303879" sldId="1917"/>
            <ac:spMk id="16" creationId="{6C2BB713-9637-4B9B-938F-E9768876782A}"/>
          </ac:spMkLst>
        </pc:spChg>
      </pc:sldChg>
      <pc:sldChg chg="modSp mod">
        <pc:chgData name="Aurelien Domont" userId="6da7715ce44349b3" providerId="LiveId" clId="{C18CC5C4-3AAC-491D-9097-885406CBF5DB}" dt="2021-05-04T03:24:04.586" v="51" actId="313"/>
        <pc:sldMkLst>
          <pc:docMk/>
          <pc:sldMk cId="1872329668" sldId="1923"/>
        </pc:sldMkLst>
        <pc:spChg chg="mod">
          <ac:chgData name="Aurelien Domont" userId="6da7715ce44349b3" providerId="LiveId" clId="{C18CC5C4-3AAC-491D-9097-885406CBF5DB}" dt="2021-05-04T03:24:04.586" v="51" actId="313"/>
          <ac:spMkLst>
            <pc:docMk/>
            <pc:sldMk cId="1872329668" sldId="1923"/>
            <ac:spMk id="14" creationId="{C9800183-F524-4412-AB39-A6E1A21FF0B3}"/>
          </ac:spMkLst>
        </pc:spChg>
      </pc:sldChg>
      <pc:sldChg chg="delSp modSp mod">
        <pc:chgData name="Aurelien Domont" userId="6da7715ce44349b3" providerId="LiveId" clId="{C18CC5C4-3AAC-491D-9097-885406CBF5DB}" dt="2021-05-04T04:11:38.160" v="272" actId="478"/>
        <pc:sldMkLst>
          <pc:docMk/>
          <pc:sldMk cId="1659127470" sldId="1924"/>
        </pc:sldMkLst>
        <pc:spChg chg="del">
          <ac:chgData name="Aurelien Domont" userId="6da7715ce44349b3" providerId="LiveId" clId="{C18CC5C4-3AAC-491D-9097-885406CBF5DB}" dt="2021-05-04T04:11:38.160" v="272" actId="478"/>
          <ac:spMkLst>
            <pc:docMk/>
            <pc:sldMk cId="1659127470" sldId="1924"/>
            <ac:spMk id="2" creationId="{47EAB931-197A-40BB-B426-D6D65C61BAA2}"/>
          </ac:spMkLst>
        </pc:spChg>
        <pc:spChg chg="mod">
          <ac:chgData name="Aurelien Domont" userId="6da7715ce44349b3" providerId="LiveId" clId="{C18CC5C4-3AAC-491D-9097-885406CBF5DB}" dt="2021-05-04T03:28:53.465" v="267" actId="20577"/>
          <ac:spMkLst>
            <pc:docMk/>
            <pc:sldMk cId="1659127470" sldId="1924"/>
            <ac:spMk id="16" creationId="{6C2BB713-9637-4B9B-938F-E9768876782A}"/>
          </ac:spMkLst>
        </pc:spChg>
      </pc:sldChg>
      <pc:sldChg chg="add">
        <pc:chgData name="Aurelien Domont" userId="6da7715ce44349b3" providerId="LiveId" clId="{C18CC5C4-3AAC-491D-9097-885406CBF5DB}" dt="2021-05-04T03:29:39.341" v="268"/>
        <pc:sldMkLst>
          <pc:docMk/>
          <pc:sldMk cId="3274212698" sldId="1925"/>
        </pc:sldMkLst>
      </pc:sldChg>
      <pc:sldChg chg="add del">
        <pc:chgData name="Aurelien Domont" userId="6da7715ce44349b3" providerId="LiveId" clId="{C18CC5C4-3AAC-491D-9097-885406CBF5DB}" dt="2021-05-04T03:30:17.302" v="271" actId="47"/>
        <pc:sldMkLst>
          <pc:docMk/>
          <pc:sldMk cId="3028091984" sldId="2146"/>
        </pc:sldMkLst>
      </pc:sldChg>
      <pc:sldChg chg="add">
        <pc:chgData name="Aurelien Domont" userId="6da7715ce44349b3" providerId="LiveId" clId="{C18CC5C4-3AAC-491D-9097-885406CBF5DB}" dt="2021-05-04T03:29:39.341" v="268"/>
        <pc:sldMkLst>
          <pc:docMk/>
          <pc:sldMk cId="4057054822" sldId="2147"/>
        </pc:sldMkLst>
      </pc:sldChg>
      <pc:sldChg chg="add">
        <pc:chgData name="Aurelien Domont" userId="6da7715ce44349b3" providerId="LiveId" clId="{C18CC5C4-3AAC-491D-9097-885406CBF5DB}" dt="2021-05-04T03:29:39.341" v="268"/>
        <pc:sldMkLst>
          <pc:docMk/>
          <pc:sldMk cId="4208437711" sldId="2148"/>
        </pc:sldMkLst>
      </pc:sldChg>
      <pc:sldChg chg="add">
        <pc:chgData name="Aurelien Domont" userId="6da7715ce44349b3" providerId="LiveId" clId="{C18CC5C4-3AAC-491D-9097-885406CBF5DB}" dt="2021-05-04T03:29:39.341" v="268"/>
        <pc:sldMkLst>
          <pc:docMk/>
          <pc:sldMk cId="1289725493" sldId="2149"/>
        </pc:sldMkLst>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9689C7A7-0C7F-47C6-AB86-2D84D75E0147}"/>
    <pc:docChg chg="undo custSel addSld delSld modSld sldOrd">
      <pc:chgData name="Aurelien Domont" userId="6da7715ce44349b3" providerId="LiveId" clId="{9689C7A7-0C7F-47C6-AB86-2D84D75E0147}" dt="2022-11-02T05:27:52.854" v="4780"/>
      <pc:docMkLst>
        <pc:docMk/>
      </pc:docMkLst>
      <pc:sldChg chg="modSp mod">
        <pc:chgData name="Aurelien Domont" userId="6da7715ce44349b3" providerId="LiveId" clId="{9689C7A7-0C7F-47C6-AB86-2D84D75E0147}" dt="2022-11-02T02:58:34.279" v="4537" actId="20577"/>
        <pc:sldMkLst>
          <pc:docMk/>
          <pc:sldMk cId="3131901387" sldId="256"/>
        </pc:sldMkLst>
        <pc:spChg chg="mod">
          <ac:chgData name="Aurelien Domont" userId="6da7715ce44349b3" providerId="LiveId" clId="{9689C7A7-0C7F-47C6-AB86-2D84D75E0147}" dt="2022-11-02T02:58:34.279" v="4537" actId="20577"/>
          <ac:spMkLst>
            <pc:docMk/>
            <pc:sldMk cId="3131901387" sldId="256"/>
            <ac:spMk id="2" creationId="{5261080C-C60C-4746-B6B1-A9A4FFA86785}"/>
          </ac:spMkLst>
        </pc:spChg>
      </pc:sldChg>
      <pc:sldChg chg="add del">
        <pc:chgData name="Aurelien Domont" userId="6da7715ce44349b3" providerId="LiveId" clId="{9689C7A7-0C7F-47C6-AB86-2D84D75E0147}" dt="2022-10-31T23:18:00.859" v="93" actId="47"/>
        <pc:sldMkLst>
          <pc:docMk/>
          <pc:sldMk cId="3072119178" sldId="1488"/>
        </pc:sldMkLst>
      </pc:sldChg>
      <pc:sldChg chg="delSp modSp add del mod">
        <pc:chgData name="Aurelien Domont" userId="6da7715ce44349b3" providerId="LiveId" clId="{9689C7A7-0C7F-47C6-AB86-2D84D75E0147}" dt="2022-10-31T23:38:07.802" v="509" actId="20577"/>
        <pc:sldMkLst>
          <pc:docMk/>
          <pc:sldMk cId="495896922" sldId="1566"/>
        </pc:sldMkLst>
        <pc:spChg chg="mod">
          <ac:chgData name="Aurelien Domont" userId="6da7715ce44349b3" providerId="LiveId" clId="{9689C7A7-0C7F-47C6-AB86-2D84D75E0147}" dt="2022-10-31T23:38:07.802" v="509" actId="20577"/>
          <ac:spMkLst>
            <pc:docMk/>
            <pc:sldMk cId="495896922" sldId="1566"/>
            <ac:spMk id="2" creationId="{98205034-64E8-4435-BFA1-43956B7507D0}"/>
          </ac:spMkLst>
        </pc:spChg>
        <pc:picChg chg="del">
          <ac:chgData name="Aurelien Domont" userId="6da7715ce44349b3" providerId="LiveId" clId="{9689C7A7-0C7F-47C6-AB86-2D84D75E0147}" dt="2022-10-31T23:32:44.889" v="306" actId="478"/>
          <ac:picMkLst>
            <pc:docMk/>
            <pc:sldMk cId="495896922" sldId="1566"/>
            <ac:picMk id="5" creationId="{56B1C362-96F1-4BC9-AC8E-F365FD8F8E8A}"/>
          </ac:picMkLst>
        </pc:picChg>
      </pc:sldChg>
      <pc:sldChg chg="del">
        <pc:chgData name="Aurelien Domont" userId="6da7715ce44349b3" providerId="LiveId" clId="{9689C7A7-0C7F-47C6-AB86-2D84D75E0147}" dt="2022-10-31T23:19:11.860" v="95" actId="47"/>
        <pc:sldMkLst>
          <pc:docMk/>
          <pc:sldMk cId="541233884" sldId="1584"/>
        </pc:sldMkLst>
      </pc:sldChg>
      <pc:sldChg chg="del">
        <pc:chgData name="Aurelien Domont" userId="6da7715ce44349b3" providerId="LiveId" clId="{9689C7A7-0C7F-47C6-AB86-2D84D75E0147}" dt="2022-10-31T23:19:11.860" v="95" actId="47"/>
        <pc:sldMkLst>
          <pc:docMk/>
          <pc:sldMk cId="2328040230" sldId="1587"/>
        </pc:sldMkLst>
      </pc:sldChg>
      <pc:sldChg chg="del">
        <pc:chgData name="Aurelien Domont" userId="6da7715ce44349b3" providerId="LiveId" clId="{9689C7A7-0C7F-47C6-AB86-2D84D75E0147}" dt="2022-10-31T23:19:11.860" v="95" actId="47"/>
        <pc:sldMkLst>
          <pc:docMk/>
          <pc:sldMk cId="416223994" sldId="1588"/>
        </pc:sldMkLst>
      </pc:sldChg>
      <pc:sldChg chg="del">
        <pc:chgData name="Aurelien Domont" userId="6da7715ce44349b3" providerId="LiveId" clId="{9689C7A7-0C7F-47C6-AB86-2D84D75E0147}" dt="2022-10-31T23:19:11.860" v="95" actId="47"/>
        <pc:sldMkLst>
          <pc:docMk/>
          <pc:sldMk cId="1962551731" sldId="1589"/>
        </pc:sldMkLst>
      </pc:sldChg>
      <pc:sldChg chg="del">
        <pc:chgData name="Aurelien Domont" userId="6da7715ce44349b3" providerId="LiveId" clId="{9689C7A7-0C7F-47C6-AB86-2D84D75E0147}" dt="2022-10-31T23:19:11.860" v="95" actId="47"/>
        <pc:sldMkLst>
          <pc:docMk/>
          <pc:sldMk cId="178148872" sldId="1590"/>
        </pc:sldMkLst>
      </pc:sldChg>
      <pc:sldChg chg="modSp add mod">
        <pc:chgData name="Aurelien Domont" userId="6da7715ce44349b3" providerId="LiveId" clId="{9689C7A7-0C7F-47C6-AB86-2D84D75E0147}" dt="2022-11-01T03:07:33.129" v="2076"/>
        <pc:sldMkLst>
          <pc:docMk/>
          <pc:sldMk cId="3604617461" sldId="1591"/>
        </pc:sldMkLst>
        <pc:spChg chg="mod">
          <ac:chgData name="Aurelien Domont" userId="6da7715ce44349b3" providerId="LiveId" clId="{9689C7A7-0C7F-47C6-AB86-2D84D75E0147}" dt="2022-11-01T03:07:33.129" v="2076"/>
          <ac:spMkLst>
            <pc:docMk/>
            <pc:sldMk cId="3604617461" sldId="1591"/>
            <ac:spMk id="14" creationId="{C9800183-F524-4412-AB39-A6E1A21FF0B3}"/>
          </ac:spMkLst>
        </pc:spChg>
      </pc:sldChg>
      <pc:sldChg chg="add">
        <pc:chgData name="Aurelien Domont" userId="6da7715ce44349b3" providerId="LiveId" clId="{9689C7A7-0C7F-47C6-AB86-2D84D75E0147}" dt="2022-10-31T23:31:56.108" v="251"/>
        <pc:sldMkLst>
          <pc:docMk/>
          <pc:sldMk cId="2841565455" sldId="1741"/>
        </pc:sldMkLst>
      </pc:sldChg>
      <pc:sldChg chg="add">
        <pc:chgData name="Aurelien Domont" userId="6da7715ce44349b3" providerId="LiveId" clId="{9689C7A7-0C7F-47C6-AB86-2D84D75E0147}" dt="2022-10-31T23:31:56.108" v="251"/>
        <pc:sldMkLst>
          <pc:docMk/>
          <pc:sldMk cId="266061181" sldId="1742"/>
        </pc:sldMkLst>
      </pc:sldChg>
      <pc:sldChg chg="add">
        <pc:chgData name="Aurelien Domont" userId="6da7715ce44349b3" providerId="LiveId" clId="{9689C7A7-0C7F-47C6-AB86-2D84D75E0147}" dt="2022-10-31T23:31:56.108" v="251"/>
        <pc:sldMkLst>
          <pc:docMk/>
          <pc:sldMk cId="3735249455" sldId="1744"/>
        </pc:sldMkLst>
      </pc:sldChg>
      <pc:sldChg chg="add">
        <pc:chgData name="Aurelien Domont" userId="6da7715ce44349b3" providerId="LiveId" clId="{9689C7A7-0C7F-47C6-AB86-2D84D75E0147}" dt="2022-10-31T23:31:56.108" v="251"/>
        <pc:sldMkLst>
          <pc:docMk/>
          <pc:sldMk cId="3455830382" sldId="1745"/>
        </pc:sldMkLst>
      </pc:sldChg>
      <pc:sldChg chg="add">
        <pc:chgData name="Aurelien Domont" userId="6da7715ce44349b3" providerId="LiveId" clId="{9689C7A7-0C7F-47C6-AB86-2D84D75E0147}" dt="2022-10-31T23:31:56.108" v="251"/>
        <pc:sldMkLst>
          <pc:docMk/>
          <pc:sldMk cId="1253290912" sldId="1747"/>
        </pc:sldMkLst>
      </pc:sldChg>
      <pc:sldChg chg="add">
        <pc:chgData name="Aurelien Domont" userId="6da7715ce44349b3" providerId="LiveId" clId="{9689C7A7-0C7F-47C6-AB86-2D84D75E0147}" dt="2022-10-31T23:31:56.108" v="251"/>
        <pc:sldMkLst>
          <pc:docMk/>
          <pc:sldMk cId="95140043" sldId="1748"/>
        </pc:sldMkLst>
      </pc:sldChg>
      <pc:sldChg chg="modSp add mod">
        <pc:chgData name="Aurelien Domont" userId="6da7715ce44349b3" providerId="LiveId" clId="{9689C7A7-0C7F-47C6-AB86-2D84D75E0147}" dt="2022-11-01T23:49:20.102" v="3488" actId="208"/>
        <pc:sldMkLst>
          <pc:docMk/>
          <pc:sldMk cId="317099162" sldId="1749"/>
        </pc:sldMkLst>
        <pc:spChg chg="mod">
          <ac:chgData name="Aurelien Domont" userId="6da7715ce44349b3" providerId="LiveId" clId="{9689C7A7-0C7F-47C6-AB86-2D84D75E0147}" dt="2022-11-01T23:49:16.428" v="3487" actId="207"/>
          <ac:spMkLst>
            <pc:docMk/>
            <pc:sldMk cId="317099162" sldId="1749"/>
            <ac:spMk id="15" creationId="{67EB76CB-7F4E-49C1-8403-086491B50E1B}"/>
          </ac:spMkLst>
        </pc:spChg>
        <pc:spChg chg="mod">
          <ac:chgData name="Aurelien Domont" userId="6da7715ce44349b3" providerId="LiveId" clId="{9689C7A7-0C7F-47C6-AB86-2D84D75E0147}" dt="2022-11-01T23:49:16.428" v="3487" actId="207"/>
          <ac:spMkLst>
            <pc:docMk/>
            <pc:sldMk cId="317099162" sldId="1749"/>
            <ac:spMk id="17" creationId="{53A20221-EC80-4A1E-8916-1F482CD58B78}"/>
          </ac:spMkLst>
        </pc:spChg>
        <pc:spChg chg="mod">
          <ac:chgData name="Aurelien Domont" userId="6da7715ce44349b3" providerId="LiveId" clId="{9689C7A7-0C7F-47C6-AB86-2D84D75E0147}" dt="2022-11-01T23:49:16.428" v="3487" actId="207"/>
          <ac:spMkLst>
            <pc:docMk/>
            <pc:sldMk cId="317099162" sldId="1749"/>
            <ac:spMk id="20" creationId="{683E9746-B627-460A-BFF8-89764C66C9B0}"/>
          </ac:spMkLst>
        </pc:spChg>
        <pc:cxnChg chg="mod">
          <ac:chgData name="Aurelien Domont" userId="6da7715ce44349b3" providerId="LiveId" clId="{9689C7A7-0C7F-47C6-AB86-2D84D75E0147}" dt="2022-11-01T23:49:20.102" v="3488" actId="208"/>
          <ac:cxnSpMkLst>
            <pc:docMk/>
            <pc:sldMk cId="317099162" sldId="1749"/>
            <ac:cxnSpMk id="5" creationId="{B602CE1D-8F27-450E-860C-F3FE5051175A}"/>
          </ac:cxnSpMkLst>
        </pc:cxnChg>
        <pc:cxnChg chg="mod">
          <ac:chgData name="Aurelien Domont" userId="6da7715ce44349b3" providerId="LiveId" clId="{9689C7A7-0C7F-47C6-AB86-2D84D75E0147}" dt="2022-11-01T23:49:20.102" v="3488" actId="208"/>
          <ac:cxnSpMkLst>
            <pc:docMk/>
            <pc:sldMk cId="317099162" sldId="1749"/>
            <ac:cxnSpMk id="24" creationId="{BDDA43A7-1E4B-4E57-965C-57B0CB33353D}"/>
          </ac:cxnSpMkLst>
        </pc:cxnChg>
      </pc:sldChg>
      <pc:sldChg chg="add del">
        <pc:chgData name="Aurelien Domont" userId="6da7715ce44349b3" providerId="LiveId" clId="{9689C7A7-0C7F-47C6-AB86-2D84D75E0147}" dt="2022-10-31T23:22:47.765" v="113" actId="47"/>
        <pc:sldMkLst>
          <pc:docMk/>
          <pc:sldMk cId="1937441572" sldId="1753"/>
        </pc:sldMkLst>
      </pc:sldChg>
      <pc:sldChg chg="modSp add mod">
        <pc:chgData name="Aurelien Domont" userId="6da7715ce44349b3" providerId="LiveId" clId="{9689C7A7-0C7F-47C6-AB86-2D84D75E0147}" dt="2022-10-31T23:39:16.664" v="512" actId="20577"/>
        <pc:sldMkLst>
          <pc:docMk/>
          <pc:sldMk cId="856612834" sldId="1758"/>
        </pc:sldMkLst>
        <pc:spChg chg="mod">
          <ac:chgData name="Aurelien Domont" userId="6da7715ce44349b3" providerId="LiveId" clId="{9689C7A7-0C7F-47C6-AB86-2D84D75E0147}" dt="2022-10-31T23:39:16.664" v="512" actId="20577"/>
          <ac:spMkLst>
            <pc:docMk/>
            <pc:sldMk cId="856612834" sldId="1758"/>
            <ac:spMk id="16" creationId="{6C2BB713-9637-4B9B-938F-E9768876782A}"/>
          </ac:spMkLst>
        </pc:spChg>
      </pc:sldChg>
      <pc:sldChg chg="addSp delSp modSp add mod">
        <pc:chgData name="Aurelien Domont" userId="6da7715ce44349b3" providerId="LiveId" clId="{9689C7A7-0C7F-47C6-AB86-2D84D75E0147}" dt="2022-10-31T23:42:05.301" v="586" actId="571"/>
        <pc:sldMkLst>
          <pc:docMk/>
          <pc:sldMk cId="2223041730" sldId="1759"/>
        </pc:sldMkLst>
        <pc:spChg chg="del mod">
          <ac:chgData name="Aurelien Domont" userId="6da7715ce44349b3" providerId="LiveId" clId="{9689C7A7-0C7F-47C6-AB86-2D84D75E0147}" dt="2022-10-31T23:41:27.310" v="581" actId="478"/>
          <ac:spMkLst>
            <pc:docMk/>
            <pc:sldMk cId="2223041730" sldId="1759"/>
            <ac:spMk id="6" creationId="{A3A41552-CFDD-4B0C-A278-A28EB100F2DB}"/>
          </ac:spMkLst>
        </pc:spChg>
        <pc:spChg chg="mod">
          <ac:chgData name="Aurelien Domont" userId="6da7715ce44349b3" providerId="LiveId" clId="{9689C7A7-0C7F-47C6-AB86-2D84D75E0147}" dt="2022-10-31T23:41:19.936" v="580" actId="313"/>
          <ac:spMkLst>
            <pc:docMk/>
            <pc:sldMk cId="2223041730" sldId="1759"/>
            <ac:spMk id="16" creationId="{6C2BB713-9637-4B9B-938F-E9768876782A}"/>
          </ac:spMkLst>
        </pc:spChg>
        <pc:picChg chg="add mod">
          <ac:chgData name="Aurelien Domont" userId="6da7715ce44349b3" providerId="LiveId" clId="{9689C7A7-0C7F-47C6-AB86-2D84D75E0147}" dt="2022-10-31T23:42:01.771" v="584" actId="1076"/>
          <ac:picMkLst>
            <pc:docMk/>
            <pc:sldMk cId="2223041730" sldId="1759"/>
            <ac:picMk id="2" creationId="{2DA86C94-B065-7377-51AE-F477B83C2C8F}"/>
          </ac:picMkLst>
        </pc:picChg>
        <pc:picChg chg="add mod">
          <ac:chgData name="Aurelien Domont" userId="6da7715ce44349b3" providerId="LiveId" clId="{9689C7A7-0C7F-47C6-AB86-2D84D75E0147}" dt="2022-10-31T23:42:03.454" v="585" actId="571"/>
          <ac:picMkLst>
            <pc:docMk/>
            <pc:sldMk cId="2223041730" sldId="1759"/>
            <ac:picMk id="4" creationId="{D15F3701-BD9C-44E7-5680-0F36395D97AB}"/>
          </ac:picMkLst>
        </pc:picChg>
        <pc:picChg chg="add mod">
          <ac:chgData name="Aurelien Domont" userId="6da7715ce44349b3" providerId="LiveId" clId="{9689C7A7-0C7F-47C6-AB86-2D84D75E0147}" dt="2022-10-31T23:42:05.301" v="586" actId="571"/>
          <ac:picMkLst>
            <pc:docMk/>
            <pc:sldMk cId="2223041730" sldId="1759"/>
            <ac:picMk id="5" creationId="{A3C9247A-E7F8-1B4F-61D3-B168DE2E1257}"/>
          </ac:picMkLst>
        </pc:picChg>
        <pc:picChg chg="del">
          <ac:chgData name="Aurelien Domont" userId="6da7715ce44349b3" providerId="LiveId" clId="{9689C7A7-0C7F-47C6-AB86-2D84D75E0147}" dt="2022-10-31T23:41:56.732" v="583" actId="478"/>
          <ac:picMkLst>
            <pc:docMk/>
            <pc:sldMk cId="2223041730" sldId="1759"/>
            <ac:picMk id="8" creationId="{4E2F6A33-72A9-4252-BAAF-498E3BDAEED6}"/>
          </ac:picMkLst>
        </pc:picChg>
        <pc:picChg chg="del">
          <ac:chgData name="Aurelien Domont" userId="6da7715ce44349b3" providerId="LiveId" clId="{9689C7A7-0C7F-47C6-AB86-2D84D75E0147}" dt="2022-10-31T23:41:56.732" v="583" actId="478"/>
          <ac:picMkLst>
            <pc:docMk/>
            <pc:sldMk cId="2223041730" sldId="1759"/>
            <ac:picMk id="10" creationId="{032E56F4-4258-4223-BFDB-816BDB690B0D}"/>
          </ac:picMkLst>
        </pc:picChg>
        <pc:picChg chg="del">
          <ac:chgData name="Aurelien Domont" userId="6da7715ce44349b3" providerId="LiveId" clId="{9689C7A7-0C7F-47C6-AB86-2D84D75E0147}" dt="2022-10-31T23:41:56.732" v="583" actId="478"/>
          <ac:picMkLst>
            <pc:docMk/>
            <pc:sldMk cId="2223041730" sldId="1759"/>
            <ac:picMk id="12" creationId="{75D95D6B-BC9D-4B5F-A559-983B7A237ACB}"/>
          </ac:picMkLst>
        </pc:picChg>
      </pc:sldChg>
      <pc:sldChg chg="delSp modSp add mod">
        <pc:chgData name="Aurelien Domont" userId="6da7715ce44349b3" providerId="LiveId" clId="{9689C7A7-0C7F-47C6-AB86-2D84D75E0147}" dt="2022-10-31T23:43:29.793" v="600" actId="20577"/>
        <pc:sldMkLst>
          <pc:docMk/>
          <pc:sldMk cId="3232525629" sldId="1760"/>
        </pc:sldMkLst>
        <pc:spChg chg="del">
          <ac:chgData name="Aurelien Domont" userId="6da7715ce44349b3" providerId="LiveId" clId="{9689C7A7-0C7F-47C6-AB86-2D84D75E0147}" dt="2022-10-31T23:42:43.397" v="597" actId="478"/>
          <ac:spMkLst>
            <pc:docMk/>
            <pc:sldMk cId="3232525629" sldId="1760"/>
            <ac:spMk id="6" creationId="{A3A41552-CFDD-4B0C-A278-A28EB100F2DB}"/>
          </ac:spMkLst>
        </pc:spChg>
        <pc:spChg chg="mod">
          <ac:chgData name="Aurelien Domont" userId="6da7715ce44349b3" providerId="LiveId" clId="{9689C7A7-0C7F-47C6-AB86-2D84D75E0147}" dt="2022-10-31T23:42:41.349" v="596" actId="20577"/>
          <ac:spMkLst>
            <pc:docMk/>
            <pc:sldMk cId="3232525629" sldId="1760"/>
            <ac:spMk id="16" creationId="{6C2BB713-9637-4B9B-938F-E9768876782A}"/>
          </ac:spMkLst>
        </pc:spChg>
        <pc:spChg chg="mod">
          <ac:chgData name="Aurelien Domont" userId="6da7715ce44349b3" providerId="LiveId" clId="{9689C7A7-0C7F-47C6-AB86-2D84D75E0147}" dt="2022-10-31T23:40:12.404" v="521" actId="207"/>
          <ac:spMkLst>
            <pc:docMk/>
            <pc:sldMk cId="3232525629" sldId="1760"/>
            <ac:spMk id="25" creationId="{13761C74-86BA-4980-B6B2-2A07175D1544}"/>
          </ac:spMkLst>
        </pc:spChg>
        <pc:spChg chg="mod">
          <ac:chgData name="Aurelien Domont" userId="6da7715ce44349b3" providerId="LiveId" clId="{9689C7A7-0C7F-47C6-AB86-2D84D75E0147}" dt="2022-10-31T23:43:29.793" v="600" actId="20577"/>
          <ac:spMkLst>
            <pc:docMk/>
            <pc:sldMk cId="3232525629" sldId="1760"/>
            <ac:spMk id="26" creationId="{0A8A0D5A-03B8-40A4-B0D4-69638507CB54}"/>
          </ac:spMkLst>
        </pc:spChg>
        <pc:spChg chg="mod">
          <ac:chgData name="Aurelien Domont" userId="6da7715ce44349b3" providerId="LiveId" clId="{9689C7A7-0C7F-47C6-AB86-2D84D75E0147}" dt="2022-10-31T23:40:20.199" v="523" actId="108"/>
          <ac:spMkLst>
            <pc:docMk/>
            <pc:sldMk cId="3232525629" sldId="1760"/>
            <ac:spMk id="27" creationId="{21A73D36-78B0-4061-8685-A61FC787358C}"/>
          </ac:spMkLst>
        </pc:spChg>
        <pc:spChg chg="mod">
          <ac:chgData name="Aurelien Domont" userId="6da7715ce44349b3" providerId="LiveId" clId="{9689C7A7-0C7F-47C6-AB86-2D84D75E0147}" dt="2022-10-31T23:43:03.883" v="599" actId="207"/>
          <ac:spMkLst>
            <pc:docMk/>
            <pc:sldMk cId="3232525629" sldId="1760"/>
            <ac:spMk id="29" creationId="{E416FA7C-F049-4488-B600-8CD09461ED43}"/>
          </ac:spMkLst>
        </pc:spChg>
        <pc:spChg chg="mod">
          <ac:chgData name="Aurelien Domont" userId="6da7715ce44349b3" providerId="LiveId" clId="{9689C7A7-0C7F-47C6-AB86-2D84D75E0147}" dt="2022-10-31T23:43:03.883" v="599" actId="207"/>
          <ac:spMkLst>
            <pc:docMk/>
            <pc:sldMk cId="3232525629" sldId="1760"/>
            <ac:spMk id="30" creationId="{214C31A3-E3DC-4A79-BEAE-E360293061EE}"/>
          </ac:spMkLst>
        </pc:spChg>
        <pc:spChg chg="mod">
          <ac:chgData name="Aurelien Domont" userId="6da7715ce44349b3" providerId="LiveId" clId="{9689C7A7-0C7F-47C6-AB86-2D84D75E0147}" dt="2022-10-31T23:43:03.883" v="599" actId="207"/>
          <ac:spMkLst>
            <pc:docMk/>
            <pc:sldMk cId="3232525629" sldId="1760"/>
            <ac:spMk id="31" creationId="{41F5570F-F6CC-4E05-8433-BD1FD70ECF05}"/>
          </ac:spMkLst>
        </pc:spChg>
        <pc:cxnChg chg="mod">
          <ac:chgData name="Aurelien Domont" userId="6da7715ce44349b3" providerId="LiveId" clId="{9689C7A7-0C7F-47C6-AB86-2D84D75E0147}" dt="2022-10-31T23:42:50.469" v="598" actId="208"/>
          <ac:cxnSpMkLst>
            <pc:docMk/>
            <pc:sldMk cId="3232525629" sldId="1760"/>
            <ac:cxnSpMk id="7" creationId="{E23E89E5-AE4F-4EF4-97C1-429F382F40B2}"/>
          </ac:cxnSpMkLst>
        </pc:cxnChg>
        <pc:cxnChg chg="mod">
          <ac:chgData name="Aurelien Domont" userId="6da7715ce44349b3" providerId="LiveId" clId="{9689C7A7-0C7F-47C6-AB86-2D84D75E0147}" dt="2022-10-31T23:42:50.469" v="598" actId="208"/>
          <ac:cxnSpMkLst>
            <pc:docMk/>
            <pc:sldMk cId="3232525629" sldId="1760"/>
            <ac:cxnSpMk id="14" creationId="{70694683-1F5B-4965-BBE7-7A98BEDCC1EE}"/>
          </ac:cxnSpMkLst>
        </pc:cxnChg>
        <pc:cxnChg chg="mod">
          <ac:chgData name="Aurelien Domont" userId="6da7715ce44349b3" providerId="LiveId" clId="{9689C7A7-0C7F-47C6-AB86-2D84D75E0147}" dt="2022-10-31T23:42:50.469" v="598" actId="208"/>
          <ac:cxnSpMkLst>
            <pc:docMk/>
            <pc:sldMk cId="3232525629" sldId="1760"/>
            <ac:cxnSpMk id="32" creationId="{30363F0F-6D1B-41F0-96E8-754BB5CDF22B}"/>
          </ac:cxnSpMkLst>
        </pc:cxnChg>
        <pc:cxnChg chg="mod">
          <ac:chgData name="Aurelien Domont" userId="6da7715ce44349b3" providerId="LiveId" clId="{9689C7A7-0C7F-47C6-AB86-2D84D75E0147}" dt="2022-10-31T23:42:50.469" v="598" actId="208"/>
          <ac:cxnSpMkLst>
            <pc:docMk/>
            <pc:sldMk cId="3232525629" sldId="1760"/>
            <ac:cxnSpMk id="33" creationId="{646B56C1-F80B-4BEB-A6A9-0A2E9EEC9D6A}"/>
          </ac:cxnSpMkLst>
        </pc:cxnChg>
        <pc:cxnChg chg="mod">
          <ac:chgData name="Aurelien Domont" userId="6da7715ce44349b3" providerId="LiveId" clId="{9689C7A7-0C7F-47C6-AB86-2D84D75E0147}" dt="2022-10-31T23:42:50.469" v="598" actId="208"/>
          <ac:cxnSpMkLst>
            <pc:docMk/>
            <pc:sldMk cId="3232525629" sldId="1760"/>
            <ac:cxnSpMk id="34" creationId="{3BBE87C2-BD4D-4AF1-A647-95515F0C3A30}"/>
          </ac:cxnSpMkLst>
        </pc:cxnChg>
        <pc:cxnChg chg="mod">
          <ac:chgData name="Aurelien Domont" userId="6da7715ce44349b3" providerId="LiveId" clId="{9689C7A7-0C7F-47C6-AB86-2D84D75E0147}" dt="2022-10-31T23:42:50.469" v="598" actId="208"/>
          <ac:cxnSpMkLst>
            <pc:docMk/>
            <pc:sldMk cId="3232525629" sldId="1760"/>
            <ac:cxnSpMk id="35" creationId="{6149D8EB-6C68-4F26-AD28-8CCCA51823CA}"/>
          </ac:cxnSpMkLst>
        </pc:cxnChg>
      </pc:sldChg>
      <pc:sldChg chg="add del">
        <pc:chgData name="Aurelien Domont" userId="6da7715ce44349b3" providerId="LiveId" clId="{9689C7A7-0C7F-47C6-AB86-2D84D75E0147}" dt="2022-10-31T23:45:27.591" v="601" actId="47"/>
        <pc:sldMkLst>
          <pc:docMk/>
          <pc:sldMk cId="3773546116" sldId="1761"/>
        </pc:sldMkLst>
      </pc:sldChg>
      <pc:sldChg chg="modSp add mod">
        <pc:chgData name="Aurelien Domont" userId="6da7715ce44349b3" providerId="LiveId" clId="{9689C7A7-0C7F-47C6-AB86-2D84D75E0147}" dt="2022-10-31T23:45:35.171" v="603" actId="20577"/>
        <pc:sldMkLst>
          <pc:docMk/>
          <pc:sldMk cId="2841604578" sldId="1762"/>
        </pc:sldMkLst>
        <pc:spChg chg="mod">
          <ac:chgData name="Aurelien Domont" userId="6da7715ce44349b3" providerId="LiveId" clId="{9689C7A7-0C7F-47C6-AB86-2D84D75E0147}" dt="2022-10-31T23:45:35.171" v="603" actId="20577"/>
          <ac:spMkLst>
            <pc:docMk/>
            <pc:sldMk cId="2841604578" sldId="1762"/>
            <ac:spMk id="16" creationId="{6C2BB713-9637-4B9B-938F-E9768876782A}"/>
          </ac:spMkLst>
        </pc:spChg>
      </pc:sldChg>
      <pc:sldChg chg="delSp modSp add mod">
        <pc:chgData name="Aurelien Domont" userId="6da7715ce44349b3" providerId="LiveId" clId="{9689C7A7-0C7F-47C6-AB86-2D84D75E0147}" dt="2022-10-31T23:46:30.342" v="627" actId="207"/>
        <pc:sldMkLst>
          <pc:docMk/>
          <pc:sldMk cId="1800067688" sldId="1763"/>
        </pc:sldMkLst>
        <pc:spChg chg="del">
          <ac:chgData name="Aurelien Domont" userId="6da7715ce44349b3" providerId="LiveId" clId="{9689C7A7-0C7F-47C6-AB86-2D84D75E0147}" dt="2022-10-31T23:46:06.049" v="610" actId="478"/>
          <ac:spMkLst>
            <pc:docMk/>
            <pc:sldMk cId="1800067688" sldId="1763"/>
            <ac:spMk id="15" creationId="{2C5734D0-6EA2-4677-B99D-B1AA78262F8A}"/>
          </ac:spMkLst>
        </pc:spChg>
        <pc:spChg chg="mod">
          <ac:chgData name="Aurelien Domont" userId="6da7715ce44349b3" providerId="LiveId" clId="{9689C7A7-0C7F-47C6-AB86-2D84D75E0147}" dt="2022-10-31T23:46:03.309" v="609" actId="27636"/>
          <ac:spMkLst>
            <pc:docMk/>
            <pc:sldMk cId="1800067688" sldId="1763"/>
            <ac:spMk id="16" creationId="{6C2BB713-9637-4B9B-938F-E9768876782A}"/>
          </ac:spMkLst>
        </pc:spChg>
        <pc:spChg chg="mod">
          <ac:chgData name="Aurelien Domont" userId="6da7715ce44349b3" providerId="LiveId" clId="{9689C7A7-0C7F-47C6-AB86-2D84D75E0147}" dt="2022-10-31T23:46:30.342" v="627" actId="207"/>
          <ac:spMkLst>
            <pc:docMk/>
            <pc:sldMk cId="1800067688" sldId="1763"/>
            <ac:spMk id="17" creationId="{4F4A4D5A-E07D-4C2A-BD14-A6E2A15CC7AB}"/>
          </ac:spMkLst>
        </pc:spChg>
        <pc:spChg chg="mod">
          <ac:chgData name="Aurelien Domont" userId="6da7715ce44349b3" providerId="LiveId" clId="{9689C7A7-0C7F-47C6-AB86-2D84D75E0147}" dt="2022-10-31T23:46:10.998" v="625" actId="1035"/>
          <ac:spMkLst>
            <pc:docMk/>
            <pc:sldMk cId="1800067688" sldId="1763"/>
            <ac:spMk id="18" creationId="{B0A5887A-1F7F-4570-8303-A42E737B5914}"/>
          </ac:spMkLst>
        </pc:spChg>
        <pc:spChg chg="mod">
          <ac:chgData name="Aurelien Domont" userId="6da7715ce44349b3" providerId="LiveId" clId="{9689C7A7-0C7F-47C6-AB86-2D84D75E0147}" dt="2022-10-31T23:46:30.342" v="627" actId="207"/>
          <ac:spMkLst>
            <pc:docMk/>
            <pc:sldMk cId="1800067688" sldId="1763"/>
            <ac:spMk id="19" creationId="{4ECA20C9-6D1D-4EF9-B233-7D0C6CFFDC21}"/>
          </ac:spMkLst>
        </pc:spChg>
        <pc:spChg chg="mod">
          <ac:chgData name="Aurelien Domont" userId="6da7715ce44349b3" providerId="LiveId" clId="{9689C7A7-0C7F-47C6-AB86-2D84D75E0147}" dt="2022-10-31T23:46:10.998" v="625" actId="1035"/>
          <ac:spMkLst>
            <pc:docMk/>
            <pc:sldMk cId="1800067688" sldId="1763"/>
            <ac:spMk id="20" creationId="{96033D0E-33E2-42D8-B644-F62F4C59A302}"/>
          </ac:spMkLst>
        </pc:spChg>
        <pc:spChg chg="mod">
          <ac:chgData name="Aurelien Domont" userId="6da7715ce44349b3" providerId="LiveId" clId="{9689C7A7-0C7F-47C6-AB86-2D84D75E0147}" dt="2022-10-31T23:46:10.998" v="625" actId="1035"/>
          <ac:spMkLst>
            <pc:docMk/>
            <pc:sldMk cId="1800067688" sldId="1763"/>
            <ac:spMk id="26" creationId="{C69008FA-EB07-448C-91E4-D5A77A741F28}"/>
          </ac:spMkLst>
        </pc:spChg>
        <pc:spChg chg="mod">
          <ac:chgData name="Aurelien Domont" userId="6da7715ce44349b3" providerId="LiveId" clId="{9689C7A7-0C7F-47C6-AB86-2D84D75E0147}" dt="2022-10-31T23:46:10.998" v="625" actId="1035"/>
          <ac:spMkLst>
            <pc:docMk/>
            <pc:sldMk cId="1800067688" sldId="1763"/>
            <ac:spMk id="27" creationId="{9520D1A7-55CE-4ED2-9C44-CCA08C652022}"/>
          </ac:spMkLst>
        </pc:spChg>
        <pc:spChg chg="mod">
          <ac:chgData name="Aurelien Domont" userId="6da7715ce44349b3" providerId="LiveId" clId="{9689C7A7-0C7F-47C6-AB86-2D84D75E0147}" dt="2022-10-31T23:46:10.998" v="625" actId="1035"/>
          <ac:spMkLst>
            <pc:docMk/>
            <pc:sldMk cId="1800067688" sldId="1763"/>
            <ac:spMk id="28" creationId="{D6B5A69A-EF4B-4CE4-8C8E-2B2D657092F4}"/>
          </ac:spMkLst>
        </pc:spChg>
        <pc:spChg chg="mod">
          <ac:chgData name="Aurelien Domont" userId="6da7715ce44349b3" providerId="LiveId" clId="{9689C7A7-0C7F-47C6-AB86-2D84D75E0147}" dt="2022-10-31T23:46:10.998" v="625" actId="1035"/>
          <ac:spMkLst>
            <pc:docMk/>
            <pc:sldMk cId="1800067688" sldId="1763"/>
            <ac:spMk id="29" creationId="{D60C24F3-DBE8-47BD-AB06-116AA5F0DECA}"/>
          </ac:spMkLst>
        </pc:spChg>
      </pc:sldChg>
      <pc:sldChg chg="addSp delSp modSp add mod">
        <pc:chgData name="Aurelien Domont" userId="6da7715ce44349b3" providerId="LiveId" clId="{9689C7A7-0C7F-47C6-AB86-2D84D75E0147}" dt="2022-10-31T23:50:14.433" v="839" actId="571"/>
        <pc:sldMkLst>
          <pc:docMk/>
          <pc:sldMk cId="2582534574" sldId="1764"/>
        </pc:sldMkLst>
        <pc:spChg chg="del">
          <ac:chgData name="Aurelien Domont" userId="6da7715ce44349b3" providerId="LiveId" clId="{9689C7A7-0C7F-47C6-AB86-2D84D75E0147}" dt="2022-10-31T23:50:00.138" v="816" actId="478"/>
          <ac:spMkLst>
            <pc:docMk/>
            <pc:sldMk cId="2582534574" sldId="1764"/>
            <ac:spMk id="15" creationId="{2C5734D0-6EA2-4677-B99D-B1AA78262F8A}"/>
          </ac:spMkLst>
        </pc:spChg>
        <pc:spChg chg="mod">
          <ac:chgData name="Aurelien Domont" userId="6da7715ce44349b3" providerId="LiveId" clId="{9689C7A7-0C7F-47C6-AB86-2D84D75E0147}" dt="2022-10-31T23:49:57.841" v="815" actId="313"/>
          <ac:spMkLst>
            <pc:docMk/>
            <pc:sldMk cId="2582534574" sldId="1764"/>
            <ac:spMk id="16" creationId="{6C2BB713-9637-4B9B-938F-E9768876782A}"/>
          </ac:spMkLst>
        </pc:spChg>
        <pc:picChg chg="add mod">
          <ac:chgData name="Aurelien Domont" userId="6da7715ce44349b3" providerId="LiveId" clId="{9689C7A7-0C7F-47C6-AB86-2D84D75E0147}" dt="2022-10-31T23:50:11.955" v="838" actId="1076"/>
          <ac:picMkLst>
            <pc:docMk/>
            <pc:sldMk cId="2582534574" sldId="1764"/>
            <ac:picMk id="2" creationId="{734A5B7A-44EF-8B9C-D494-02F47CF09CE2}"/>
          </ac:picMkLst>
        </pc:picChg>
        <pc:picChg chg="add mod">
          <ac:chgData name="Aurelien Domont" userId="6da7715ce44349b3" providerId="LiveId" clId="{9689C7A7-0C7F-47C6-AB86-2D84D75E0147}" dt="2022-10-31T23:50:14.433" v="839" actId="571"/>
          <ac:picMkLst>
            <pc:docMk/>
            <pc:sldMk cId="2582534574" sldId="1764"/>
            <ac:picMk id="4" creationId="{06C4D0E8-7FE1-38D6-CF1C-464E909ABFD5}"/>
          </ac:picMkLst>
        </pc:picChg>
        <pc:picChg chg="mod">
          <ac:chgData name="Aurelien Domont" userId="6da7715ce44349b3" providerId="LiveId" clId="{9689C7A7-0C7F-47C6-AB86-2D84D75E0147}" dt="2022-10-31T23:50:05.230" v="836" actId="1035"/>
          <ac:picMkLst>
            <pc:docMk/>
            <pc:sldMk cId="2582534574" sldId="1764"/>
            <ac:picMk id="14" creationId="{55F0D96E-9C02-47A9-9D0A-AC0DD60EEB89}"/>
          </ac:picMkLst>
        </pc:picChg>
        <pc:picChg chg="mod">
          <ac:chgData name="Aurelien Domont" userId="6da7715ce44349b3" providerId="LiveId" clId="{9689C7A7-0C7F-47C6-AB86-2D84D75E0147}" dt="2022-10-31T23:50:05.230" v="836" actId="1035"/>
          <ac:picMkLst>
            <pc:docMk/>
            <pc:sldMk cId="2582534574" sldId="1764"/>
            <ac:picMk id="21" creationId="{71BB4AD3-9AFA-4C3C-A14F-D3FDBD1AFE57}"/>
          </ac:picMkLst>
        </pc:picChg>
      </pc:sldChg>
      <pc:sldChg chg="modSp add mod">
        <pc:chgData name="Aurelien Domont" userId="6da7715ce44349b3" providerId="LiveId" clId="{9689C7A7-0C7F-47C6-AB86-2D84D75E0147}" dt="2022-10-31T23:52:04.851" v="851" actId="6549"/>
        <pc:sldMkLst>
          <pc:docMk/>
          <pc:sldMk cId="4116201052" sldId="1766"/>
        </pc:sldMkLst>
        <pc:spChg chg="mod">
          <ac:chgData name="Aurelien Domont" userId="6da7715ce44349b3" providerId="LiveId" clId="{9689C7A7-0C7F-47C6-AB86-2D84D75E0147}" dt="2022-10-31T23:52:04.851" v="851" actId="6549"/>
          <ac:spMkLst>
            <pc:docMk/>
            <pc:sldMk cId="4116201052" sldId="1766"/>
            <ac:spMk id="16" creationId="{6C2BB713-9637-4B9B-938F-E9768876782A}"/>
          </ac:spMkLst>
        </pc:spChg>
      </pc:sldChg>
      <pc:sldChg chg="delSp modSp add mod">
        <pc:chgData name="Aurelien Domont" userId="6da7715ce44349b3" providerId="LiveId" clId="{9689C7A7-0C7F-47C6-AB86-2D84D75E0147}" dt="2022-10-31T23:52:36.379" v="858" actId="208"/>
        <pc:sldMkLst>
          <pc:docMk/>
          <pc:sldMk cId="378039358" sldId="1767"/>
        </pc:sldMkLst>
        <pc:spChg chg="del">
          <ac:chgData name="Aurelien Domont" userId="6da7715ce44349b3" providerId="LiveId" clId="{9689C7A7-0C7F-47C6-AB86-2D84D75E0147}" dt="2022-10-31T23:52:18.858" v="856" actId="478"/>
          <ac:spMkLst>
            <pc:docMk/>
            <pc:sldMk cId="378039358" sldId="1767"/>
            <ac:spMk id="15" creationId="{2C5734D0-6EA2-4677-B99D-B1AA78262F8A}"/>
          </ac:spMkLst>
        </pc:spChg>
        <pc:spChg chg="mod">
          <ac:chgData name="Aurelien Domont" userId="6da7715ce44349b3" providerId="LiveId" clId="{9689C7A7-0C7F-47C6-AB86-2D84D75E0147}" dt="2022-10-31T23:52:16.856" v="855" actId="20577"/>
          <ac:spMkLst>
            <pc:docMk/>
            <pc:sldMk cId="378039358" sldId="1767"/>
            <ac:spMk id="16" creationId="{6C2BB713-9637-4B9B-938F-E9768876782A}"/>
          </ac:spMkLst>
        </pc:spChg>
        <pc:spChg chg="mod">
          <ac:chgData name="Aurelien Domont" userId="6da7715ce44349b3" providerId="LiveId" clId="{9689C7A7-0C7F-47C6-AB86-2D84D75E0147}" dt="2022-10-31T23:52:33.076" v="857" actId="207"/>
          <ac:spMkLst>
            <pc:docMk/>
            <pc:sldMk cId="378039358" sldId="1767"/>
            <ac:spMk id="18" creationId="{B68C9FF4-A919-4145-A26B-290191BE0F81}"/>
          </ac:spMkLst>
        </pc:spChg>
        <pc:spChg chg="mod">
          <ac:chgData name="Aurelien Domont" userId="6da7715ce44349b3" providerId="LiveId" clId="{9689C7A7-0C7F-47C6-AB86-2D84D75E0147}" dt="2022-10-31T23:52:36.379" v="858" actId="208"/>
          <ac:spMkLst>
            <pc:docMk/>
            <pc:sldMk cId="378039358" sldId="1767"/>
            <ac:spMk id="19" creationId="{99F22421-4384-4714-B4DB-1DF360E70728}"/>
          </ac:spMkLst>
        </pc:spChg>
      </pc:sldChg>
      <pc:sldChg chg="addSp delSp modSp add mod">
        <pc:chgData name="Aurelien Domont" userId="6da7715ce44349b3" providerId="LiveId" clId="{9689C7A7-0C7F-47C6-AB86-2D84D75E0147}" dt="2022-10-31T23:53:50.026" v="868" actId="1076"/>
        <pc:sldMkLst>
          <pc:docMk/>
          <pc:sldMk cId="4079813215" sldId="1768"/>
        </pc:sldMkLst>
        <pc:spChg chg="del">
          <ac:chgData name="Aurelien Domont" userId="6da7715ce44349b3" providerId="LiveId" clId="{9689C7A7-0C7F-47C6-AB86-2D84D75E0147}" dt="2022-10-31T23:53:42.513" v="865" actId="478"/>
          <ac:spMkLst>
            <pc:docMk/>
            <pc:sldMk cId="4079813215" sldId="1768"/>
            <ac:spMk id="15" creationId="{2C5734D0-6EA2-4677-B99D-B1AA78262F8A}"/>
          </ac:spMkLst>
        </pc:spChg>
        <pc:spChg chg="mod">
          <ac:chgData name="Aurelien Domont" userId="6da7715ce44349b3" providerId="LiveId" clId="{9689C7A7-0C7F-47C6-AB86-2D84D75E0147}" dt="2022-10-31T23:53:38.355" v="864" actId="20577"/>
          <ac:spMkLst>
            <pc:docMk/>
            <pc:sldMk cId="4079813215" sldId="1768"/>
            <ac:spMk id="16" creationId="{6C2BB713-9637-4B9B-938F-E9768876782A}"/>
          </ac:spMkLst>
        </pc:spChg>
        <pc:picChg chg="add mod">
          <ac:chgData name="Aurelien Domont" userId="6da7715ce44349b3" providerId="LiveId" clId="{9689C7A7-0C7F-47C6-AB86-2D84D75E0147}" dt="2022-10-31T23:53:50.026" v="868" actId="1076"/>
          <ac:picMkLst>
            <pc:docMk/>
            <pc:sldMk cId="4079813215" sldId="1768"/>
            <ac:picMk id="2" creationId="{36B637AB-B466-BC63-98FB-40913ABCD7E9}"/>
          </ac:picMkLst>
        </pc:picChg>
        <pc:picChg chg="mod">
          <ac:chgData name="Aurelien Domont" userId="6da7715ce44349b3" providerId="LiveId" clId="{9689C7A7-0C7F-47C6-AB86-2D84D75E0147}" dt="2022-10-31T23:53:44.109" v="866" actId="1076"/>
          <ac:picMkLst>
            <pc:docMk/>
            <pc:sldMk cId="4079813215" sldId="1768"/>
            <ac:picMk id="8" creationId="{4CEB9CB3-5DE1-410A-AF19-FA33389BE8EF}"/>
          </ac:picMkLst>
        </pc:picChg>
      </pc:sldChg>
      <pc:sldChg chg="modSp add mod">
        <pc:chgData name="Aurelien Domont" userId="6da7715ce44349b3" providerId="LiveId" clId="{9689C7A7-0C7F-47C6-AB86-2D84D75E0147}" dt="2022-10-31T23:53:56.908" v="870" actId="20577"/>
        <pc:sldMkLst>
          <pc:docMk/>
          <pc:sldMk cId="2165074920" sldId="1770"/>
        </pc:sldMkLst>
        <pc:spChg chg="mod">
          <ac:chgData name="Aurelien Domont" userId="6da7715ce44349b3" providerId="LiveId" clId="{9689C7A7-0C7F-47C6-AB86-2D84D75E0147}" dt="2022-10-31T23:53:56.908" v="870" actId="20577"/>
          <ac:spMkLst>
            <pc:docMk/>
            <pc:sldMk cId="2165074920" sldId="1770"/>
            <ac:spMk id="16" creationId="{6C2BB713-9637-4B9B-938F-E9768876782A}"/>
          </ac:spMkLst>
        </pc:spChg>
      </pc:sldChg>
      <pc:sldChg chg="modSp add mod">
        <pc:chgData name="Aurelien Domont" userId="6da7715ce44349b3" providerId="LiveId" clId="{9689C7A7-0C7F-47C6-AB86-2D84D75E0147}" dt="2022-10-31T23:54:01.749" v="871" actId="20577"/>
        <pc:sldMkLst>
          <pc:docMk/>
          <pc:sldMk cId="931098661" sldId="1771"/>
        </pc:sldMkLst>
        <pc:spChg chg="mod">
          <ac:chgData name="Aurelien Domont" userId="6da7715ce44349b3" providerId="LiveId" clId="{9689C7A7-0C7F-47C6-AB86-2D84D75E0147}" dt="2022-10-31T23:54:01.749" v="871" actId="20577"/>
          <ac:spMkLst>
            <pc:docMk/>
            <pc:sldMk cId="931098661" sldId="1771"/>
            <ac:spMk id="16" creationId="{6C2BB713-9637-4B9B-938F-E9768876782A}"/>
          </ac:spMkLst>
        </pc:spChg>
      </pc:sldChg>
      <pc:sldChg chg="addSp delSp modSp add mod">
        <pc:chgData name="Aurelien Domont" userId="6da7715ce44349b3" providerId="LiveId" clId="{9689C7A7-0C7F-47C6-AB86-2D84D75E0147}" dt="2022-10-31T23:54:44.619" v="889"/>
        <pc:sldMkLst>
          <pc:docMk/>
          <pc:sldMk cId="1004341563" sldId="1772"/>
        </pc:sldMkLst>
        <pc:spChg chg="del">
          <ac:chgData name="Aurelien Domont" userId="6da7715ce44349b3" providerId="LiveId" clId="{9689C7A7-0C7F-47C6-AB86-2D84D75E0147}" dt="2022-10-31T23:54:40.117" v="887" actId="478"/>
          <ac:spMkLst>
            <pc:docMk/>
            <pc:sldMk cId="1004341563" sldId="1772"/>
            <ac:spMk id="15" creationId="{2C5734D0-6EA2-4677-B99D-B1AA78262F8A}"/>
          </ac:spMkLst>
        </pc:spChg>
        <pc:spChg chg="mod">
          <ac:chgData name="Aurelien Domont" userId="6da7715ce44349b3" providerId="LiveId" clId="{9689C7A7-0C7F-47C6-AB86-2D84D75E0147}" dt="2022-10-31T23:54:36.479" v="886" actId="20577"/>
          <ac:spMkLst>
            <pc:docMk/>
            <pc:sldMk cId="1004341563" sldId="1772"/>
            <ac:spMk id="16" creationId="{6C2BB713-9637-4B9B-938F-E9768876782A}"/>
          </ac:spMkLst>
        </pc:spChg>
        <pc:picChg chg="add mod">
          <ac:chgData name="Aurelien Domont" userId="6da7715ce44349b3" providerId="LiveId" clId="{9689C7A7-0C7F-47C6-AB86-2D84D75E0147}" dt="2022-10-31T23:54:44.619" v="889"/>
          <ac:picMkLst>
            <pc:docMk/>
            <pc:sldMk cId="1004341563" sldId="1772"/>
            <ac:picMk id="2" creationId="{A2F6DFEC-14C9-DD9C-509E-3353B2EDC78E}"/>
          </ac:picMkLst>
        </pc:picChg>
        <pc:picChg chg="mod">
          <ac:chgData name="Aurelien Domont" userId="6da7715ce44349b3" providerId="LiveId" clId="{9689C7A7-0C7F-47C6-AB86-2D84D75E0147}" dt="2022-10-31T23:54:41.249" v="888" actId="1076"/>
          <ac:picMkLst>
            <pc:docMk/>
            <pc:sldMk cId="1004341563" sldId="1772"/>
            <ac:picMk id="7" creationId="{90A52FEC-5F12-4213-9EA7-7DD0FE377D2F}"/>
          </ac:picMkLst>
        </pc:picChg>
      </pc:sldChg>
      <pc:sldChg chg="modSp add mod">
        <pc:chgData name="Aurelien Domont" userId="6da7715ce44349b3" providerId="LiveId" clId="{9689C7A7-0C7F-47C6-AB86-2D84D75E0147}" dt="2022-10-31T23:58:48.221" v="953" actId="790"/>
        <pc:sldMkLst>
          <pc:docMk/>
          <pc:sldMk cId="2643867341" sldId="1774"/>
        </pc:sldMkLst>
        <pc:spChg chg="mod">
          <ac:chgData name="Aurelien Domont" userId="6da7715ce44349b3" providerId="LiveId" clId="{9689C7A7-0C7F-47C6-AB86-2D84D75E0147}" dt="2022-10-31T23:56:16.310" v="898" actId="207"/>
          <ac:spMkLst>
            <pc:docMk/>
            <pc:sldMk cId="2643867341" sldId="1774"/>
            <ac:spMk id="9" creationId="{96F37EC8-18C0-48E4-9834-F90543B05B0F}"/>
          </ac:spMkLst>
        </pc:spChg>
        <pc:spChg chg="mod">
          <ac:chgData name="Aurelien Domont" userId="6da7715ce44349b3" providerId="LiveId" clId="{9689C7A7-0C7F-47C6-AB86-2D84D75E0147}" dt="2022-10-31T23:56:00.040" v="895" actId="207"/>
          <ac:spMkLst>
            <pc:docMk/>
            <pc:sldMk cId="2643867341" sldId="1774"/>
            <ac:spMk id="10" creationId="{2984F043-B8D6-412B-B7C4-DF9995E98861}"/>
          </ac:spMkLst>
        </pc:spChg>
        <pc:spChg chg="mod">
          <ac:chgData name="Aurelien Domont" userId="6da7715ce44349b3" providerId="LiveId" clId="{9689C7A7-0C7F-47C6-AB86-2D84D75E0147}" dt="2022-10-31T23:56:11.484" v="897" actId="207"/>
          <ac:spMkLst>
            <pc:docMk/>
            <pc:sldMk cId="2643867341" sldId="1774"/>
            <ac:spMk id="11" creationId="{13D36CF7-3792-40D3-85DC-DB849ECCBD8C}"/>
          </ac:spMkLst>
        </pc:spChg>
        <pc:spChg chg="mod">
          <ac:chgData name="Aurelien Domont" userId="6da7715ce44349b3" providerId="LiveId" clId="{9689C7A7-0C7F-47C6-AB86-2D84D75E0147}" dt="2022-10-31T23:56:03.084" v="896" actId="207"/>
          <ac:spMkLst>
            <pc:docMk/>
            <pc:sldMk cId="2643867341" sldId="1774"/>
            <ac:spMk id="12" creationId="{83154D5F-A891-4F85-8B83-45432EAB7191}"/>
          </ac:spMkLst>
        </pc:spChg>
        <pc:spChg chg="mod">
          <ac:chgData name="Aurelien Domont" userId="6da7715ce44349b3" providerId="LiveId" clId="{9689C7A7-0C7F-47C6-AB86-2D84D75E0147}" dt="2022-10-31T23:56:21.435" v="899" actId="207"/>
          <ac:spMkLst>
            <pc:docMk/>
            <pc:sldMk cId="2643867341" sldId="1774"/>
            <ac:spMk id="15" creationId="{D902BDD8-4DD4-41DB-A102-81F178BA993E}"/>
          </ac:spMkLst>
        </pc:spChg>
        <pc:spChg chg="mod">
          <ac:chgData name="Aurelien Domont" userId="6da7715ce44349b3" providerId="LiveId" clId="{9689C7A7-0C7F-47C6-AB86-2D84D75E0147}" dt="2022-10-31T23:58:48.221" v="953" actId="790"/>
          <ac:spMkLst>
            <pc:docMk/>
            <pc:sldMk cId="2643867341" sldId="1774"/>
            <ac:spMk id="16" creationId="{6C2BB713-9637-4B9B-938F-E9768876782A}"/>
          </ac:spMkLst>
        </pc:spChg>
        <pc:spChg chg="mod">
          <ac:chgData name="Aurelien Domont" userId="6da7715ce44349b3" providerId="LiveId" clId="{9689C7A7-0C7F-47C6-AB86-2D84D75E0147}" dt="2022-10-31T23:56:26.729" v="900" actId="207"/>
          <ac:spMkLst>
            <pc:docMk/>
            <pc:sldMk cId="2643867341" sldId="1774"/>
            <ac:spMk id="20" creationId="{7D5F442E-1F42-4517-BB29-8C17F2CC2CD5}"/>
          </ac:spMkLst>
        </pc:spChg>
      </pc:sldChg>
      <pc:sldChg chg="modSp add del mod">
        <pc:chgData name="Aurelien Domont" userId="6da7715ce44349b3" providerId="LiveId" clId="{9689C7A7-0C7F-47C6-AB86-2D84D75E0147}" dt="2022-11-01T00:06:11.070" v="1058" actId="403"/>
        <pc:sldMkLst>
          <pc:docMk/>
          <pc:sldMk cId="1527696209" sldId="1775"/>
        </pc:sldMkLst>
        <pc:spChg chg="mod">
          <ac:chgData name="Aurelien Domont" userId="6da7715ce44349b3" providerId="LiveId" clId="{9689C7A7-0C7F-47C6-AB86-2D84D75E0147}" dt="2022-11-01T00:06:11.070" v="1058" actId="403"/>
          <ac:spMkLst>
            <pc:docMk/>
            <pc:sldMk cId="1527696209" sldId="1775"/>
            <ac:spMk id="16" creationId="{6C2BB713-9637-4B9B-938F-E9768876782A}"/>
          </ac:spMkLst>
        </pc:spChg>
      </pc:sldChg>
      <pc:sldChg chg="modSp add del mod">
        <pc:chgData name="Aurelien Domont" userId="6da7715ce44349b3" providerId="LiveId" clId="{9689C7A7-0C7F-47C6-AB86-2D84D75E0147}" dt="2022-11-01T00:06:14.372" v="1059" actId="403"/>
        <pc:sldMkLst>
          <pc:docMk/>
          <pc:sldMk cId="889802681" sldId="1776"/>
        </pc:sldMkLst>
        <pc:spChg chg="mod">
          <ac:chgData name="Aurelien Domont" userId="6da7715ce44349b3" providerId="LiveId" clId="{9689C7A7-0C7F-47C6-AB86-2D84D75E0147}" dt="2022-11-01T00:06:14.372" v="1059" actId="403"/>
          <ac:spMkLst>
            <pc:docMk/>
            <pc:sldMk cId="889802681" sldId="1776"/>
            <ac:spMk id="16" creationId="{6C2BB713-9637-4B9B-938F-E9768876782A}"/>
          </ac:spMkLst>
        </pc:spChg>
      </pc:sldChg>
      <pc:sldChg chg="modSp add del mod">
        <pc:chgData name="Aurelien Domont" userId="6da7715ce44349b3" providerId="LiveId" clId="{9689C7A7-0C7F-47C6-AB86-2D84D75E0147}" dt="2022-11-01T00:06:17.915" v="1060" actId="403"/>
        <pc:sldMkLst>
          <pc:docMk/>
          <pc:sldMk cId="616373529" sldId="1777"/>
        </pc:sldMkLst>
        <pc:spChg chg="mod">
          <ac:chgData name="Aurelien Domont" userId="6da7715ce44349b3" providerId="LiveId" clId="{9689C7A7-0C7F-47C6-AB86-2D84D75E0147}" dt="2022-11-01T00:06:17.915" v="1060" actId="403"/>
          <ac:spMkLst>
            <pc:docMk/>
            <pc:sldMk cId="616373529" sldId="1777"/>
            <ac:spMk id="16" creationId="{6C2BB713-9637-4B9B-938F-E9768876782A}"/>
          </ac:spMkLst>
        </pc:spChg>
      </pc:sldChg>
      <pc:sldChg chg="modSp add del mod">
        <pc:chgData name="Aurelien Domont" userId="6da7715ce44349b3" providerId="LiveId" clId="{9689C7A7-0C7F-47C6-AB86-2D84D75E0147}" dt="2022-11-02T02:57:44.987" v="4507"/>
        <pc:sldMkLst>
          <pc:docMk/>
          <pc:sldMk cId="2507375222" sldId="1778"/>
        </pc:sldMkLst>
        <pc:spChg chg="mod">
          <ac:chgData name="Aurelien Domont" userId="6da7715ce44349b3" providerId="LiveId" clId="{9689C7A7-0C7F-47C6-AB86-2D84D75E0147}" dt="2022-11-02T02:57:44.987" v="4507"/>
          <ac:spMkLst>
            <pc:docMk/>
            <pc:sldMk cId="2507375222" sldId="1778"/>
            <ac:spMk id="16" creationId="{6C2BB713-9637-4B9B-938F-E9768876782A}"/>
          </ac:spMkLst>
        </pc:spChg>
      </pc:sldChg>
      <pc:sldChg chg="modSp add del mod">
        <pc:chgData name="Aurelien Domont" userId="6da7715ce44349b3" providerId="LiveId" clId="{9689C7A7-0C7F-47C6-AB86-2D84D75E0147}" dt="2022-11-02T02:58:03.373" v="4509" actId="790"/>
        <pc:sldMkLst>
          <pc:docMk/>
          <pc:sldMk cId="1667953037" sldId="1779"/>
        </pc:sldMkLst>
        <pc:spChg chg="mod">
          <ac:chgData name="Aurelien Domont" userId="6da7715ce44349b3" providerId="LiveId" clId="{9689C7A7-0C7F-47C6-AB86-2D84D75E0147}" dt="2022-10-31T23:57:15.529" v="914" actId="20577"/>
          <ac:spMkLst>
            <pc:docMk/>
            <pc:sldMk cId="1667953037" sldId="1779"/>
            <ac:spMk id="16" creationId="{6C2BB713-9637-4B9B-938F-E9768876782A}"/>
          </ac:spMkLst>
        </pc:spChg>
        <pc:spChg chg="mod">
          <ac:chgData name="Aurelien Domont" userId="6da7715ce44349b3" providerId="LiveId" clId="{9689C7A7-0C7F-47C6-AB86-2D84D75E0147}" dt="2022-11-02T02:57:54.879" v="4508" actId="790"/>
          <ac:spMkLst>
            <pc:docMk/>
            <pc:sldMk cId="1667953037" sldId="1779"/>
            <ac:spMk id="35" creationId="{84B834CF-73CE-42E1-A261-B28451BC0A86}"/>
          </ac:spMkLst>
        </pc:spChg>
        <pc:spChg chg="mod">
          <ac:chgData name="Aurelien Domont" userId="6da7715ce44349b3" providerId="LiveId" clId="{9689C7A7-0C7F-47C6-AB86-2D84D75E0147}" dt="2022-11-02T02:58:03.373" v="4509" actId="790"/>
          <ac:spMkLst>
            <pc:docMk/>
            <pc:sldMk cId="1667953037" sldId="1779"/>
            <ac:spMk id="39" creationId="{C83D4F44-4A94-414A-8402-180745FE5D1C}"/>
          </ac:spMkLst>
        </pc:spChg>
      </pc:sldChg>
      <pc:sldChg chg="modSp add del mod">
        <pc:chgData name="Aurelien Domont" userId="6da7715ce44349b3" providerId="LiveId" clId="{9689C7A7-0C7F-47C6-AB86-2D84D75E0147}" dt="2022-11-01T00:06:33.906" v="1061" actId="403"/>
        <pc:sldMkLst>
          <pc:docMk/>
          <pc:sldMk cId="773542165" sldId="1780"/>
        </pc:sldMkLst>
        <pc:spChg chg="mod">
          <ac:chgData name="Aurelien Domont" userId="6da7715ce44349b3" providerId="LiveId" clId="{9689C7A7-0C7F-47C6-AB86-2D84D75E0147}" dt="2022-11-01T00:06:33.906" v="1061" actId="403"/>
          <ac:spMkLst>
            <pc:docMk/>
            <pc:sldMk cId="773542165" sldId="1780"/>
            <ac:spMk id="16" creationId="{6C2BB713-9637-4B9B-938F-E9768876782A}"/>
          </ac:spMkLst>
        </pc:spChg>
      </pc:sldChg>
      <pc:sldChg chg="delSp modSp add del mod">
        <pc:chgData name="Aurelien Domont" userId="6da7715ce44349b3" providerId="LiveId" clId="{9689C7A7-0C7F-47C6-AB86-2D84D75E0147}" dt="2022-11-01T00:05:54.258" v="1056" actId="47"/>
        <pc:sldMkLst>
          <pc:docMk/>
          <pc:sldMk cId="3084222828" sldId="1781"/>
        </pc:sldMkLst>
        <pc:spChg chg="mod">
          <ac:chgData name="Aurelien Domont" userId="6da7715ce44349b3" providerId="LiveId" clId="{9689C7A7-0C7F-47C6-AB86-2D84D75E0147}" dt="2022-11-01T00:01:53.310" v="989" actId="20577"/>
          <ac:spMkLst>
            <pc:docMk/>
            <pc:sldMk cId="3084222828" sldId="1781"/>
            <ac:spMk id="16" creationId="{6C2BB713-9637-4B9B-938F-E9768876782A}"/>
          </ac:spMkLst>
        </pc:spChg>
        <pc:spChg chg="del">
          <ac:chgData name="Aurelien Domont" userId="6da7715ce44349b3" providerId="LiveId" clId="{9689C7A7-0C7F-47C6-AB86-2D84D75E0147}" dt="2022-11-01T00:02:51.141" v="1053" actId="478"/>
          <ac:spMkLst>
            <pc:docMk/>
            <pc:sldMk cId="3084222828" sldId="1781"/>
            <ac:spMk id="84" creationId="{96EE738F-8F37-4818-9253-4F812E53E074}"/>
          </ac:spMkLst>
        </pc:spChg>
        <pc:spChg chg="mod">
          <ac:chgData name="Aurelien Domont" userId="6da7715ce44349b3" providerId="LiveId" clId="{9689C7A7-0C7F-47C6-AB86-2D84D75E0147}" dt="2022-11-01T00:02:57.410" v="1054" actId="1076"/>
          <ac:spMkLst>
            <pc:docMk/>
            <pc:sldMk cId="3084222828" sldId="1781"/>
            <ac:spMk id="85" creationId="{266102B6-7C07-48E8-A2D2-A6F7715C735D}"/>
          </ac:spMkLst>
        </pc:spChg>
        <pc:spChg chg="mod">
          <ac:chgData name="Aurelien Domont" userId="6da7715ce44349b3" providerId="LiveId" clId="{9689C7A7-0C7F-47C6-AB86-2D84D75E0147}" dt="2022-11-01T00:02:57.410" v="1054" actId="1076"/>
          <ac:spMkLst>
            <pc:docMk/>
            <pc:sldMk cId="3084222828" sldId="1781"/>
            <ac:spMk id="86" creationId="{B7C478B4-00CF-45D6-AD7B-109E8AFB70A1}"/>
          </ac:spMkLst>
        </pc:spChg>
        <pc:spChg chg="mod">
          <ac:chgData name="Aurelien Domont" userId="6da7715ce44349b3" providerId="LiveId" clId="{9689C7A7-0C7F-47C6-AB86-2D84D75E0147}" dt="2022-11-01T00:02:57.410" v="1054" actId="1076"/>
          <ac:spMkLst>
            <pc:docMk/>
            <pc:sldMk cId="3084222828" sldId="1781"/>
            <ac:spMk id="89" creationId="{C9BE600F-D5CA-4C08-8EB8-F6F7E4D595B3}"/>
          </ac:spMkLst>
        </pc:spChg>
        <pc:spChg chg="mod">
          <ac:chgData name="Aurelien Domont" userId="6da7715ce44349b3" providerId="LiveId" clId="{9689C7A7-0C7F-47C6-AB86-2D84D75E0147}" dt="2022-11-01T00:02:57.410" v="1054" actId="1076"/>
          <ac:spMkLst>
            <pc:docMk/>
            <pc:sldMk cId="3084222828" sldId="1781"/>
            <ac:spMk id="91" creationId="{05307F2D-AE49-498A-8E14-77EFC51088F4}"/>
          </ac:spMkLst>
        </pc:spChg>
        <pc:spChg chg="mod">
          <ac:chgData name="Aurelien Domont" userId="6da7715ce44349b3" providerId="LiveId" clId="{9689C7A7-0C7F-47C6-AB86-2D84D75E0147}" dt="2022-11-01T00:02:57.410" v="1054" actId="1076"/>
          <ac:spMkLst>
            <pc:docMk/>
            <pc:sldMk cId="3084222828" sldId="1781"/>
            <ac:spMk id="92" creationId="{D2B64A01-856F-4013-B850-8603E15AF22A}"/>
          </ac:spMkLst>
        </pc:spChg>
        <pc:spChg chg="mod">
          <ac:chgData name="Aurelien Domont" userId="6da7715ce44349b3" providerId="LiveId" clId="{9689C7A7-0C7F-47C6-AB86-2D84D75E0147}" dt="2022-11-01T00:02:57.410" v="1054" actId="1076"/>
          <ac:spMkLst>
            <pc:docMk/>
            <pc:sldMk cId="3084222828" sldId="1781"/>
            <ac:spMk id="100" creationId="{AE93CA89-8882-4718-91F6-794CBBCACC36}"/>
          </ac:spMkLst>
        </pc:spChg>
        <pc:spChg chg="mod">
          <ac:chgData name="Aurelien Domont" userId="6da7715ce44349b3" providerId="LiveId" clId="{9689C7A7-0C7F-47C6-AB86-2D84D75E0147}" dt="2022-11-01T00:02:57.410" v="1054" actId="1076"/>
          <ac:spMkLst>
            <pc:docMk/>
            <pc:sldMk cId="3084222828" sldId="1781"/>
            <ac:spMk id="101" creationId="{943DCA18-0C5D-4943-BEEA-1CE1FE839EA2}"/>
          </ac:spMkLst>
        </pc:spChg>
        <pc:spChg chg="mod">
          <ac:chgData name="Aurelien Domont" userId="6da7715ce44349b3" providerId="LiveId" clId="{9689C7A7-0C7F-47C6-AB86-2D84D75E0147}" dt="2022-11-01T00:02:57.410" v="1054" actId="1076"/>
          <ac:spMkLst>
            <pc:docMk/>
            <pc:sldMk cId="3084222828" sldId="1781"/>
            <ac:spMk id="102" creationId="{5485A7B0-3982-4217-A600-B0023A32C1CB}"/>
          </ac:spMkLst>
        </pc:spChg>
        <pc:spChg chg="mod">
          <ac:chgData name="Aurelien Domont" userId="6da7715ce44349b3" providerId="LiveId" clId="{9689C7A7-0C7F-47C6-AB86-2D84D75E0147}" dt="2022-11-01T00:02:57.410" v="1054" actId="1076"/>
          <ac:spMkLst>
            <pc:docMk/>
            <pc:sldMk cId="3084222828" sldId="1781"/>
            <ac:spMk id="103" creationId="{0D90413B-040B-4BE6-835F-F58207016E17}"/>
          </ac:spMkLst>
        </pc:spChg>
        <pc:spChg chg="mod">
          <ac:chgData name="Aurelien Domont" userId="6da7715ce44349b3" providerId="LiveId" clId="{9689C7A7-0C7F-47C6-AB86-2D84D75E0147}" dt="2022-11-01T00:02:57.410" v="1054" actId="1076"/>
          <ac:spMkLst>
            <pc:docMk/>
            <pc:sldMk cId="3084222828" sldId="1781"/>
            <ac:spMk id="104" creationId="{99C65D93-20E1-49F4-8371-D270706045EC}"/>
          </ac:spMkLst>
        </pc:spChg>
        <pc:spChg chg="mod">
          <ac:chgData name="Aurelien Domont" userId="6da7715ce44349b3" providerId="LiveId" clId="{9689C7A7-0C7F-47C6-AB86-2D84D75E0147}" dt="2022-11-01T00:02:57.410" v="1054" actId="1076"/>
          <ac:spMkLst>
            <pc:docMk/>
            <pc:sldMk cId="3084222828" sldId="1781"/>
            <ac:spMk id="105" creationId="{4066A36E-B705-4380-8654-7DA7C1F8E67E}"/>
          </ac:spMkLst>
        </pc:spChg>
        <pc:spChg chg="mod">
          <ac:chgData name="Aurelien Domont" userId="6da7715ce44349b3" providerId="LiveId" clId="{9689C7A7-0C7F-47C6-AB86-2D84D75E0147}" dt="2022-11-01T00:02:57.410" v="1054" actId="1076"/>
          <ac:spMkLst>
            <pc:docMk/>
            <pc:sldMk cId="3084222828" sldId="1781"/>
            <ac:spMk id="106" creationId="{0393758D-0CF1-419A-80B8-298048E3E7C8}"/>
          </ac:spMkLst>
        </pc:spChg>
        <pc:spChg chg="mod">
          <ac:chgData name="Aurelien Domont" userId="6da7715ce44349b3" providerId="LiveId" clId="{9689C7A7-0C7F-47C6-AB86-2D84D75E0147}" dt="2022-11-01T00:02:57.410" v="1054" actId="1076"/>
          <ac:spMkLst>
            <pc:docMk/>
            <pc:sldMk cId="3084222828" sldId="1781"/>
            <ac:spMk id="107" creationId="{E2F3FE7F-651C-46EB-A3C3-C6CAFE0288AB}"/>
          </ac:spMkLst>
        </pc:spChg>
        <pc:spChg chg="mod">
          <ac:chgData name="Aurelien Domont" userId="6da7715ce44349b3" providerId="LiveId" clId="{9689C7A7-0C7F-47C6-AB86-2D84D75E0147}" dt="2022-11-01T00:02:57.410" v="1054" actId="1076"/>
          <ac:spMkLst>
            <pc:docMk/>
            <pc:sldMk cId="3084222828" sldId="1781"/>
            <ac:spMk id="108" creationId="{1B25D8D4-0936-4BFE-9EE9-47ECC7C79939}"/>
          </ac:spMkLst>
        </pc:spChg>
        <pc:spChg chg="mod">
          <ac:chgData name="Aurelien Domont" userId="6da7715ce44349b3" providerId="LiveId" clId="{9689C7A7-0C7F-47C6-AB86-2D84D75E0147}" dt="2022-11-01T00:02:57.410" v="1054" actId="1076"/>
          <ac:spMkLst>
            <pc:docMk/>
            <pc:sldMk cId="3084222828" sldId="1781"/>
            <ac:spMk id="109" creationId="{28DB46E2-D0CA-4D33-982C-CA9A795D6DEA}"/>
          </ac:spMkLst>
        </pc:spChg>
        <pc:spChg chg="mod">
          <ac:chgData name="Aurelien Domont" userId="6da7715ce44349b3" providerId="LiveId" clId="{9689C7A7-0C7F-47C6-AB86-2D84D75E0147}" dt="2022-11-01T00:02:57.410" v="1054" actId="1076"/>
          <ac:spMkLst>
            <pc:docMk/>
            <pc:sldMk cId="3084222828" sldId="1781"/>
            <ac:spMk id="110" creationId="{545979BB-41A7-4F51-82DF-0E100CFD78B9}"/>
          </ac:spMkLst>
        </pc:spChg>
        <pc:spChg chg="mod">
          <ac:chgData name="Aurelien Domont" userId="6da7715ce44349b3" providerId="LiveId" clId="{9689C7A7-0C7F-47C6-AB86-2D84D75E0147}" dt="2022-11-01T00:02:57.410" v="1054" actId="1076"/>
          <ac:spMkLst>
            <pc:docMk/>
            <pc:sldMk cId="3084222828" sldId="1781"/>
            <ac:spMk id="111" creationId="{0258A870-4BB7-4F35-AE16-1E673B1F95F7}"/>
          </ac:spMkLst>
        </pc:spChg>
        <pc:spChg chg="mod">
          <ac:chgData name="Aurelien Domont" userId="6da7715ce44349b3" providerId="LiveId" clId="{9689C7A7-0C7F-47C6-AB86-2D84D75E0147}" dt="2022-11-01T00:02:57.410" v="1054" actId="1076"/>
          <ac:spMkLst>
            <pc:docMk/>
            <pc:sldMk cId="3084222828" sldId="1781"/>
            <ac:spMk id="112" creationId="{468C44E7-AA8D-4B03-B76D-0A1E700A2307}"/>
          </ac:spMkLst>
        </pc:spChg>
        <pc:spChg chg="mod">
          <ac:chgData name="Aurelien Domont" userId="6da7715ce44349b3" providerId="LiveId" clId="{9689C7A7-0C7F-47C6-AB86-2D84D75E0147}" dt="2022-11-01T00:02:57.410" v="1054" actId="1076"/>
          <ac:spMkLst>
            <pc:docMk/>
            <pc:sldMk cId="3084222828" sldId="1781"/>
            <ac:spMk id="113" creationId="{6B251115-F83B-4572-A691-2039B7B4E96D}"/>
          </ac:spMkLst>
        </pc:spChg>
        <pc:spChg chg="mod">
          <ac:chgData name="Aurelien Domont" userId="6da7715ce44349b3" providerId="LiveId" clId="{9689C7A7-0C7F-47C6-AB86-2D84D75E0147}" dt="2022-11-01T00:02:57.410" v="1054" actId="1076"/>
          <ac:spMkLst>
            <pc:docMk/>
            <pc:sldMk cId="3084222828" sldId="1781"/>
            <ac:spMk id="114" creationId="{E97EC006-4DD1-466A-9308-B3FAD54EE704}"/>
          </ac:spMkLst>
        </pc:spChg>
        <pc:spChg chg="mod">
          <ac:chgData name="Aurelien Domont" userId="6da7715ce44349b3" providerId="LiveId" clId="{9689C7A7-0C7F-47C6-AB86-2D84D75E0147}" dt="2022-11-01T00:02:57.410" v="1054" actId="1076"/>
          <ac:spMkLst>
            <pc:docMk/>
            <pc:sldMk cId="3084222828" sldId="1781"/>
            <ac:spMk id="115" creationId="{308C5628-D999-4DF4-889F-732DCA49FD54}"/>
          </ac:spMkLst>
        </pc:spChg>
        <pc:spChg chg="mod">
          <ac:chgData name="Aurelien Domont" userId="6da7715ce44349b3" providerId="LiveId" clId="{9689C7A7-0C7F-47C6-AB86-2D84D75E0147}" dt="2022-11-01T00:02:57.410" v="1054" actId="1076"/>
          <ac:spMkLst>
            <pc:docMk/>
            <pc:sldMk cId="3084222828" sldId="1781"/>
            <ac:spMk id="116" creationId="{C36EBF5B-D306-4D6C-9AAF-DC727CE31851}"/>
          </ac:spMkLst>
        </pc:spChg>
        <pc:spChg chg="mod">
          <ac:chgData name="Aurelien Domont" userId="6da7715ce44349b3" providerId="LiveId" clId="{9689C7A7-0C7F-47C6-AB86-2D84D75E0147}" dt="2022-11-01T00:02:57.410" v="1054" actId="1076"/>
          <ac:spMkLst>
            <pc:docMk/>
            <pc:sldMk cId="3084222828" sldId="1781"/>
            <ac:spMk id="117" creationId="{6EEAD845-6AAD-49F3-987E-927019998B00}"/>
          </ac:spMkLst>
        </pc:spChg>
        <pc:spChg chg="mod">
          <ac:chgData name="Aurelien Domont" userId="6da7715ce44349b3" providerId="LiveId" clId="{9689C7A7-0C7F-47C6-AB86-2D84D75E0147}" dt="2022-11-01T00:02:57.410" v="1054" actId="1076"/>
          <ac:spMkLst>
            <pc:docMk/>
            <pc:sldMk cId="3084222828" sldId="1781"/>
            <ac:spMk id="118" creationId="{0BB0C89F-FFE3-485F-9464-C8AF1C6EED9B}"/>
          </ac:spMkLst>
        </pc:spChg>
        <pc:spChg chg="mod">
          <ac:chgData name="Aurelien Domont" userId="6da7715ce44349b3" providerId="LiveId" clId="{9689C7A7-0C7F-47C6-AB86-2D84D75E0147}" dt="2022-11-01T00:02:57.410" v="1054" actId="1076"/>
          <ac:spMkLst>
            <pc:docMk/>
            <pc:sldMk cId="3084222828" sldId="1781"/>
            <ac:spMk id="119" creationId="{DC0D5D07-F333-4844-BE8A-EA1A63897B64}"/>
          </ac:spMkLst>
        </pc:spChg>
        <pc:spChg chg="mod">
          <ac:chgData name="Aurelien Domont" userId="6da7715ce44349b3" providerId="LiveId" clId="{9689C7A7-0C7F-47C6-AB86-2D84D75E0147}" dt="2022-11-01T00:02:57.410" v="1054" actId="1076"/>
          <ac:spMkLst>
            <pc:docMk/>
            <pc:sldMk cId="3084222828" sldId="1781"/>
            <ac:spMk id="120" creationId="{05C63D3B-9D6D-4BAE-8434-4B4E1C0FA4A0}"/>
          </ac:spMkLst>
        </pc:spChg>
        <pc:spChg chg="mod">
          <ac:chgData name="Aurelien Domont" userId="6da7715ce44349b3" providerId="LiveId" clId="{9689C7A7-0C7F-47C6-AB86-2D84D75E0147}" dt="2022-11-01T00:02:57.410" v="1054" actId="1076"/>
          <ac:spMkLst>
            <pc:docMk/>
            <pc:sldMk cId="3084222828" sldId="1781"/>
            <ac:spMk id="121" creationId="{5FAF362D-7CD2-4981-B9E0-753F2E226938}"/>
          </ac:spMkLst>
        </pc:spChg>
        <pc:spChg chg="mod">
          <ac:chgData name="Aurelien Domont" userId="6da7715ce44349b3" providerId="LiveId" clId="{9689C7A7-0C7F-47C6-AB86-2D84D75E0147}" dt="2022-11-01T00:02:57.410" v="1054" actId="1076"/>
          <ac:spMkLst>
            <pc:docMk/>
            <pc:sldMk cId="3084222828" sldId="1781"/>
            <ac:spMk id="122" creationId="{FBF9D78D-6645-4BDE-826A-C1DDAD8897AC}"/>
          </ac:spMkLst>
        </pc:spChg>
        <pc:spChg chg="mod">
          <ac:chgData name="Aurelien Domont" userId="6da7715ce44349b3" providerId="LiveId" clId="{9689C7A7-0C7F-47C6-AB86-2D84D75E0147}" dt="2022-11-01T00:02:57.410" v="1054" actId="1076"/>
          <ac:spMkLst>
            <pc:docMk/>
            <pc:sldMk cId="3084222828" sldId="1781"/>
            <ac:spMk id="123" creationId="{FE689BC8-3173-4712-9D1C-24019ECDC0B9}"/>
          </ac:spMkLst>
        </pc:spChg>
        <pc:spChg chg="mod">
          <ac:chgData name="Aurelien Domont" userId="6da7715ce44349b3" providerId="LiveId" clId="{9689C7A7-0C7F-47C6-AB86-2D84D75E0147}" dt="2022-11-01T00:02:57.410" v="1054" actId="1076"/>
          <ac:spMkLst>
            <pc:docMk/>
            <pc:sldMk cId="3084222828" sldId="1781"/>
            <ac:spMk id="124" creationId="{3457D1B3-89E3-4389-AF17-07F97EF9D3DE}"/>
          </ac:spMkLst>
        </pc:spChg>
        <pc:spChg chg="mod">
          <ac:chgData name="Aurelien Domont" userId="6da7715ce44349b3" providerId="LiveId" clId="{9689C7A7-0C7F-47C6-AB86-2D84D75E0147}" dt="2022-11-01T00:02:57.410" v="1054" actId="1076"/>
          <ac:spMkLst>
            <pc:docMk/>
            <pc:sldMk cId="3084222828" sldId="1781"/>
            <ac:spMk id="125" creationId="{163DA2EF-1679-47B5-86DF-8FEDB0FBB42B}"/>
          </ac:spMkLst>
        </pc:spChg>
        <pc:cxnChg chg="del mod">
          <ac:chgData name="Aurelien Domont" userId="6da7715ce44349b3" providerId="LiveId" clId="{9689C7A7-0C7F-47C6-AB86-2D84D75E0147}" dt="2022-11-01T00:02:51.141" v="1053" actId="478"/>
          <ac:cxnSpMkLst>
            <pc:docMk/>
            <pc:sldMk cId="3084222828" sldId="1781"/>
            <ac:cxnSpMk id="87" creationId="{1E52CE5C-17ED-469B-AAEC-57641CBD7DB3}"/>
          </ac:cxnSpMkLst>
        </pc:cxnChg>
        <pc:cxnChg chg="del mod">
          <ac:chgData name="Aurelien Domont" userId="6da7715ce44349b3" providerId="LiveId" clId="{9689C7A7-0C7F-47C6-AB86-2D84D75E0147}" dt="2022-11-01T00:02:51.141" v="1053" actId="478"/>
          <ac:cxnSpMkLst>
            <pc:docMk/>
            <pc:sldMk cId="3084222828" sldId="1781"/>
            <ac:cxnSpMk id="88" creationId="{DAC741EA-D4E7-4A8D-845D-D8EE13C87C33}"/>
          </ac:cxnSpMkLst>
        </pc:cxnChg>
        <pc:cxnChg chg="del mod">
          <ac:chgData name="Aurelien Domont" userId="6da7715ce44349b3" providerId="LiveId" clId="{9689C7A7-0C7F-47C6-AB86-2D84D75E0147}" dt="2022-11-01T00:02:51.141" v="1053" actId="478"/>
          <ac:cxnSpMkLst>
            <pc:docMk/>
            <pc:sldMk cId="3084222828" sldId="1781"/>
            <ac:cxnSpMk id="90" creationId="{BED6F18C-89A6-4722-99A6-A2F90F68D5E2}"/>
          </ac:cxnSpMkLst>
        </pc:cxnChg>
        <pc:cxnChg chg="del mod">
          <ac:chgData name="Aurelien Domont" userId="6da7715ce44349b3" providerId="LiveId" clId="{9689C7A7-0C7F-47C6-AB86-2D84D75E0147}" dt="2022-11-01T00:02:51.141" v="1053" actId="478"/>
          <ac:cxnSpMkLst>
            <pc:docMk/>
            <pc:sldMk cId="3084222828" sldId="1781"/>
            <ac:cxnSpMk id="93" creationId="{67308574-F49E-4719-949B-15CCB37BB59F}"/>
          </ac:cxnSpMkLst>
        </pc:cxnChg>
        <pc:cxnChg chg="del mod">
          <ac:chgData name="Aurelien Domont" userId="6da7715ce44349b3" providerId="LiveId" clId="{9689C7A7-0C7F-47C6-AB86-2D84D75E0147}" dt="2022-11-01T00:02:51.141" v="1053" actId="478"/>
          <ac:cxnSpMkLst>
            <pc:docMk/>
            <pc:sldMk cId="3084222828" sldId="1781"/>
            <ac:cxnSpMk id="94" creationId="{E090D336-BB13-4503-9011-DB7D9FA5BB1C}"/>
          </ac:cxnSpMkLst>
        </pc:cxnChg>
        <pc:cxnChg chg="mod">
          <ac:chgData name="Aurelien Domont" userId="6da7715ce44349b3" providerId="LiveId" clId="{9689C7A7-0C7F-47C6-AB86-2D84D75E0147}" dt="2022-11-01T00:02:57.410" v="1054" actId="1076"/>
          <ac:cxnSpMkLst>
            <pc:docMk/>
            <pc:sldMk cId="3084222828" sldId="1781"/>
            <ac:cxnSpMk id="95" creationId="{B336CB67-FC29-47E5-85FB-7E831DA92BEE}"/>
          </ac:cxnSpMkLst>
        </pc:cxnChg>
        <pc:cxnChg chg="mod">
          <ac:chgData name="Aurelien Domont" userId="6da7715ce44349b3" providerId="LiveId" clId="{9689C7A7-0C7F-47C6-AB86-2D84D75E0147}" dt="2022-11-01T00:02:57.410" v="1054" actId="1076"/>
          <ac:cxnSpMkLst>
            <pc:docMk/>
            <pc:sldMk cId="3084222828" sldId="1781"/>
            <ac:cxnSpMk id="96" creationId="{EAAAE830-E3BD-4F49-B7A5-55F02016393E}"/>
          </ac:cxnSpMkLst>
        </pc:cxnChg>
        <pc:cxnChg chg="mod">
          <ac:chgData name="Aurelien Domont" userId="6da7715ce44349b3" providerId="LiveId" clId="{9689C7A7-0C7F-47C6-AB86-2D84D75E0147}" dt="2022-11-01T00:02:57.410" v="1054" actId="1076"/>
          <ac:cxnSpMkLst>
            <pc:docMk/>
            <pc:sldMk cId="3084222828" sldId="1781"/>
            <ac:cxnSpMk id="97" creationId="{9A8778BC-2AC3-4027-BA1B-C3A6D4DC3169}"/>
          </ac:cxnSpMkLst>
        </pc:cxnChg>
        <pc:cxnChg chg="mod">
          <ac:chgData name="Aurelien Domont" userId="6da7715ce44349b3" providerId="LiveId" clId="{9689C7A7-0C7F-47C6-AB86-2D84D75E0147}" dt="2022-11-01T00:02:57.410" v="1054" actId="1076"/>
          <ac:cxnSpMkLst>
            <pc:docMk/>
            <pc:sldMk cId="3084222828" sldId="1781"/>
            <ac:cxnSpMk id="98" creationId="{79CA5446-3387-4C79-A704-226611E32FCC}"/>
          </ac:cxnSpMkLst>
        </pc:cxnChg>
        <pc:cxnChg chg="mod">
          <ac:chgData name="Aurelien Domont" userId="6da7715ce44349b3" providerId="LiveId" clId="{9689C7A7-0C7F-47C6-AB86-2D84D75E0147}" dt="2022-11-01T00:02:57.410" v="1054" actId="1076"/>
          <ac:cxnSpMkLst>
            <pc:docMk/>
            <pc:sldMk cId="3084222828" sldId="1781"/>
            <ac:cxnSpMk id="99" creationId="{9A60BA36-217A-47C4-A558-98994CD65045}"/>
          </ac:cxnSpMkLst>
        </pc:cxnChg>
      </pc:sldChg>
      <pc:sldChg chg="modSp add mod">
        <pc:chgData name="Aurelien Domont" userId="6da7715ce44349b3" providerId="LiveId" clId="{9689C7A7-0C7F-47C6-AB86-2D84D75E0147}" dt="2022-10-31T23:35:16.737" v="426" actId="33524"/>
        <pc:sldMkLst>
          <pc:docMk/>
          <pc:sldMk cId="3677483741" sldId="1783"/>
        </pc:sldMkLst>
        <pc:spChg chg="mod">
          <ac:chgData name="Aurelien Domont" userId="6da7715ce44349b3" providerId="LiveId" clId="{9689C7A7-0C7F-47C6-AB86-2D84D75E0147}" dt="2022-10-31T23:35:16.737" v="426" actId="33524"/>
          <ac:spMkLst>
            <pc:docMk/>
            <pc:sldMk cId="3677483741" sldId="1783"/>
            <ac:spMk id="24" creationId="{5262883E-429E-4FBD-BE90-9FFFC2CD6641}"/>
          </ac:spMkLst>
        </pc:spChg>
      </pc:sldChg>
      <pc:sldChg chg="add">
        <pc:chgData name="Aurelien Domont" userId="6da7715ce44349b3" providerId="LiveId" clId="{9689C7A7-0C7F-47C6-AB86-2D84D75E0147}" dt="2022-10-31T23:22:20.175" v="111"/>
        <pc:sldMkLst>
          <pc:docMk/>
          <pc:sldMk cId="4287359207" sldId="1784"/>
        </pc:sldMkLst>
      </pc:sldChg>
      <pc:sldChg chg="add">
        <pc:chgData name="Aurelien Domont" userId="6da7715ce44349b3" providerId="LiveId" clId="{9689C7A7-0C7F-47C6-AB86-2D84D75E0147}" dt="2022-10-31T23:22:20.175" v="111"/>
        <pc:sldMkLst>
          <pc:docMk/>
          <pc:sldMk cId="2877494023" sldId="1785"/>
        </pc:sldMkLst>
      </pc:sldChg>
      <pc:sldChg chg="add del">
        <pc:chgData name="Aurelien Domont" userId="6da7715ce44349b3" providerId="LiveId" clId="{9689C7A7-0C7F-47C6-AB86-2D84D75E0147}" dt="2022-10-31T23:24:18.586" v="159" actId="47"/>
        <pc:sldMkLst>
          <pc:docMk/>
          <pc:sldMk cId="3466491633" sldId="1786"/>
        </pc:sldMkLst>
      </pc:sldChg>
      <pc:sldChg chg="add del">
        <pc:chgData name="Aurelien Domont" userId="6da7715ce44349b3" providerId="LiveId" clId="{9689C7A7-0C7F-47C6-AB86-2D84D75E0147}" dt="2022-10-31T23:24:06.534" v="157" actId="2696"/>
        <pc:sldMkLst>
          <pc:docMk/>
          <pc:sldMk cId="1732008318" sldId="1787"/>
        </pc:sldMkLst>
      </pc:sldChg>
      <pc:sldChg chg="add">
        <pc:chgData name="Aurelien Domont" userId="6da7715ce44349b3" providerId="LiveId" clId="{9689C7A7-0C7F-47C6-AB86-2D84D75E0147}" dt="2022-10-31T23:24:12.528" v="158"/>
        <pc:sldMkLst>
          <pc:docMk/>
          <pc:sldMk cId="3855801452" sldId="1787"/>
        </pc:sldMkLst>
      </pc:sldChg>
      <pc:sldChg chg="add del">
        <pc:chgData name="Aurelien Domont" userId="6da7715ce44349b3" providerId="LiveId" clId="{9689C7A7-0C7F-47C6-AB86-2D84D75E0147}" dt="2022-10-31T23:24:06.534" v="157" actId="2696"/>
        <pc:sldMkLst>
          <pc:docMk/>
          <pc:sldMk cId="997897999" sldId="1788"/>
        </pc:sldMkLst>
      </pc:sldChg>
      <pc:sldChg chg="add">
        <pc:chgData name="Aurelien Domont" userId="6da7715ce44349b3" providerId="LiveId" clId="{9689C7A7-0C7F-47C6-AB86-2D84D75E0147}" dt="2022-10-31T23:24:12.528" v="158"/>
        <pc:sldMkLst>
          <pc:docMk/>
          <pc:sldMk cId="4009885783" sldId="1788"/>
        </pc:sldMkLst>
      </pc:sldChg>
      <pc:sldChg chg="add">
        <pc:chgData name="Aurelien Domont" userId="6da7715ce44349b3" providerId="LiveId" clId="{9689C7A7-0C7F-47C6-AB86-2D84D75E0147}" dt="2022-10-31T23:24:12.528" v="158"/>
        <pc:sldMkLst>
          <pc:docMk/>
          <pc:sldMk cId="1714268045" sldId="1789"/>
        </pc:sldMkLst>
      </pc:sldChg>
      <pc:sldChg chg="add del">
        <pc:chgData name="Aurelien Domont" userId="6da7715ce44349b3" providerId="LiveId" clId="{9689C7A7-0C7F-47C6-AB86-2D84D75E0147}" dt="2022-10-31T23:24:06.534" v="157" actId="2696"/>
        <pc:sldMkLst>
          <pc:docMk/>
          <pc:sldMk cId="2078141970" sldId="1789"/>
        </pc:sldMkLst>
      </pc:sldChg>
      <pc:sldChg chg="add del">
        <pc:chgData name="Aurelien Domont" userId="6da7715ce44349b3" providerId="LiveId" clId="{9689C7A7-0C7F-47C6-AB86-2D84D75E0147}" dt="2022-10-31T23:24:18.586" v="159" actId="47"/>
        <pc:sldMkLst>
          <pc:docMk/>
          <pc:sldMk cId="3615064185" sldId="1791"/>
        </pc:sldMkLst>
      </pc:sldChg>
      <pc:sldChg chg="add">
        <pc:chgData name="Aurelien Domont" userId="6da7715ce44349b3" providerId="LiveId" clId="{9689C7A7-0C7F-47C6-AB86-2D84D75E0147}" dt="2022-10-31T23:23:07.502" v="115"/>
        <pc:sldMkLst>
          <pc:docMk/>
          <pc:sldMk cId="1134423678" sldId="1799"/>
        </pc:sldMkLst>
      </pc:sldChg>
      <pc:sldChg chg="add del">
        <pc:chgData name="Aurelien Domont" userId="6da7715ce44349b3" providerId="LiveId" clId="{9689C7A7-0C7F-47C6-AB86-2D84D75E0147}" dt="2022-10-31T23:23:03.977" v="114" actId="2696"/>
        <pc:sldMkLst>
          <pc:docMk/>
          <pc:sldMk cId="3425725677" sldId="1799"/>
        </pc:sldMkLst>
      </pc:sldChg>
      <pc:sldChg chg="add">
        <pc:chgData name="Aurelien Domont" userId="6da7715ce44349b3" providerId="LiveId" clId="{9689C7A7-0C7F-47C6-AB86-2D84D75E0147}" dt="2022-10-31T23:23:07.502" v="115"/>
        <pc:sldMkLst>
          <pc:docMk/>
          <pc:sldMk cId="1657545652" sldId="1800"/>
        </pc:sldMkLst>
      </pc:sldChg>
      <pc:sldChg chg="add del">
        <pc:chgData name="Aurelien Domont" userId="6da7715ce44349b3" providerId="LiveId" clId="{9689C7A7-0C7F-47C6-AB86-2D84D75E0147}" dt="2022-10-31T23:23:03.977" v="114" actId="2696"/>
        <pc:sldMkLst>
          <pc:docMk/>
          <pc:sldMk cId="2843644244" sldId="1800"/>
        </pc:sldMkLst>
      </pc:sldChg>
      <pc:sldChg chg="add">
        <pc:chgData name="Aurelien Domont" userId="6da7715ce44349b3" providerId="LiveId" clId="{9689C7A7-0C7F-47C6-AB86-2D84D75E0147}" dt="2022-10-31T23:23:07.502" v="115"/>
        <pc:sldMkLst>
          <pc:docMk/>
          <pc:sldMk cId="553578808" sldId="1801"/>
        </pc:sldMkLst>
      </pc:sldChg>
      <pc:sldChg chg="add del">
        <pc:chgData name="Aurelien Domont" userId="6da7715ce44349b3" providerId="LiveId" clId="{9689C7A7-0C7F-47C6-AB86-2D84D75E0147}" dt="2022-10-31T23:23:03.977" v="114" actId="2696"/>
        <pc:sldMkLst>
          <pc:docMk/>
          <pc:sldMk cId="3125797651" sldId="1801"/>
        </pc:sldMkLst>
      </pc:sldChg>
      <pc:sldChg chg="add">
        <pc:chgData name="Aurelien Domont" userId="6da7715ce44349b3" providerId="LiveId" clId="{9689C7A7-0C7F-47C6-AB86-2D84D75E0147}" dt="2022-10-31T23:23:07.502" v="115"/>
        <pc:sldMkLst>
          <pc:docMk/>
          <pc:sldMk cId="662933818" sldId="1802"/>
        </pc:sldMkLst>
      </pc:sldChg>
      <pc:sldChg chg="add del">
        <pc:chgData name="Aurelien Domont" userId="6da7715ce44349b3" providerId="LiveId" clId="{9689C7A7-0C7F-47C6-AB86-2D84D75E0147}" dt="2022-10-31T23:23:03.977" v="114" actId="2696"/>
        <pc:sldMkLst>
          <pc:docMk/>
          <pc:sldMk cId="1563613775" sldId="1802"/>
        </pc:sldMkLst>
      </pc:sldChg>
      <pc:sldChg chg="add del">
        <pc:chgData name="Aurelien Domont" userId="6da7715ce44349b3" providerId="LiveId" clId="{9689C7A7-0C7F-47C6-AB86-2D84D75E0147}" dt="2022-10-31T23:23:03.977" v="114" actId="2696"/>
        <pc:sldMkLst>
          <pc:docMk/>
          <pc:sldMk cId="1709101749" sldId="1803"/>
        </pc:sldMkLst>
      </pc:sldChg>
      <pc:sldChg chg="add">
        <pc:chgData name="Aurelien Domont" userId="6da7715ce44349b3" providerId="LiveId" clId="{9689C7A7-0C7F-47C6-AB86-2D84D75E0147}" dt="2022-10-31T23:23:07.502" v="115"/>
        <pc:sldMkLst>
          <pc:docMk/>
          <pc:sldMk cId="2844005624" sldId="1803"/>
        </pc:sldMkLst>
      </pc:sldChg>
      <pc:sldChg chg="add">
        <pc:chgData name="Aurelien Domont" userId="6da7715ce44349b3" providerId="LiveId" clId="{9689C7A7-0C7F-47C6-AB86-2D84D75E0147}" dt="2022-10-31T23:22:20.175" v="111"/>
        <pc:sldMkLst>
          <pc:docMk/>
          <pc:sldMk cId="2103218014" sldId="1854"/>
        </pc:sldMkLst>
      </pc:sldChg>
      <pc:sldChg chg="add">
        <pc:chgData name="Aurelien Domont" userId="6da7715ce44349b3" providerId="LiveId" clId="{9689C7A7-0C7F-47C6-AB86-2D84D75E0147}" dt="2022-10-31T23:22:20.175" v="111"/>
        <pc:sldMkLst>
          <pc:docMk/>
          <pc:sldMk cId="825089551" sldId="1855"/>
        </pc:sldMkLst>
      </pc:sldChg>
      <pc:sldChg chg="add">
        <pc:chgData name="Aurelien Domont" userId="6da7715ce44349b3" providerId="LiveId" clId="{9689C7A7-0C7F-47C6-AB86-2D84D75E0147}" dt="2022-10-31T23:22:20.175" v="111"/>
        <pc:sldMkLst>
          <pc:docMk/>
          <pc:sldMk cId="4201580979" sldId="1856"/>
        </pc:sldMkLst>
      </pc:sldChg>
      <pc:sldChg chg="add">
        <pc:chgData name="Aurelien Domont" userId="6da7715ce44349b3" providerId="LiveId" clId="{9689C7A7-0C7F-47C6-AB86-2D84D75E0147}" dt="2022-10-31T23:22:20.175" v="111"/>
        <pc:sldMkLst>
          <pc:docMk/>
          <pc:sldMk cId="1720389870" sldId="1857"/>
        </pc:sldMkLst>
      </pc:sldChg>
      <pc:sldChg chg="add del">
        <pc:chgData name="Aurelien Domont" userId="6da7715ce44349b3" providerId="LiveId" clId="{9689C7A7-0C7F-47C6-AB86-2D84D75E0147}" dt="2022-10-31T23:24:18.586" v="159" actId="47"/>
        <pc:sldMkLst>
          <pc:docMk/>
          <pc:sldMk cId="2407077962" sldId="1858"/>
        </pc:sldMkLst>
      </pc:sldChg>
      <pc:sldChg chg="add">
        <pc:chgData name="Aurelien Domont" userId="6da7715ce44349b3" providerId="LiveId" clId="{9689C7A7-0C7F-47C6-AB86-2D84D75E0147}" dt="2022-10-31T23:31:56.108" v="251"/>
        <pc:sldMkLst>
          <pc:docMk/>
          <pc:sldMk cId="2335345969" sldId="1871"/>
        </pc:sldMkLst>
      </pc:sldChg>
      <pc:sldChg chg="add">
        <pc:chgData name="Aurelien Domont" userId="6da7715ce44349b3" providerId="LiveId" clId="{9689C7A7-0C7F-47C6-AB86-2D84D75E0147}" dt="2022-10-31T23:31:56.108" v="251"/>
        <pc:sldMkLst>
          <pc:docMk/>
          <pc:sldMk cId="2445131328" sldId="1872"/>
        </pc:sldMkLst>
      </pc:sldChg>
      <pc:sldChg chg="delSp modSp add mod">
        <pc:chgData name="Aurelien Domont" userId="6da7715ce44349b3" providerId="LiveId" clId="{9689C7A7-0C7F-47C6-AB86-2D84D75E0147}" dt="2022-10-31T23:33:15.363" v="319" actId="20577"/>
        <pc:sldMkLst>
          <pc:docMk/>
          <pc:sldMk cId="1372783906" sldId="1873"/>
        </pc:sldMkLst>
        <pc:spChg chg="mod">
          <ac:chgData name="Aurelien Domont" userId="6da7715ce44349b3" providerId="LiveId" clId="{9689C7A7-0C7F-47C6-AB86-2D84D75E0147}" dt="2022-10-31T23:33:15.363" v="319" actId="20577"/>
          <ac:spMkLst>
            <pc:docMk/>
            <pc:sldMk cId="1372783906" sldId="1873"/>
            <ac:spMk id="2" creationId="{98205034-64E8-4435-BFA1-43956B7507D0}"/>
          </ac:spMkLst>
        </pc:spChg>
        <pc:picChg chg="del">
          <ac:chgData name="Aurelien Domont" userId="6da7715ce44349b3" providerId="LiveId" clId="{9689C7A7-0C7F-47C6-AB86-2D84D75E0147}" dt="2022-10-31T23:32:48.918" v="307" actId="478"/>
          <ac:picMkLst>
            <pc:docMk/>
            <pc:sldMk cId="1372783906" sldId="1873"/>
            <ac:picMk id="5" creationId="{56B1C362-96F1-4BC9-AC8E-F365FD8F8E8A}"/>
          </ac:picMkLst>
        </pc:picChg>
      </pc:sldChg>
      <pc:sldChg chg="modSp add mod">
        <pc:chgData name="Aurelien Domont" userId="6da7715ce44349b3" providerId="LiveId" clId="{9689C7A7-0C7F-47C6-AB86-2D84D75E0147}" dt="2022-10-31T23:33:22.690" v="322" actId="20577"/>
        <pc:sldMkLst>
          <pc:docMk/>
          <pc:sldMk cId="4121493417" sldId="1874"/>
        </pc:sldMkLst>
        <pc:spChg chg="mod">
          <ac:chgData name="Aurelien Domont" userId="6da7715ce44349b3" providerId="LiveId" clId="{9689C7A7-0C7F-47C6-AB86-2D84D75E0147}" dt="2022-10-31T23:33:22.690" v="322" actId="20577"/>
          <ac:spMkLst>
            <pc:docMk/>
            <pc:sldMk cId="4121493417" sldId="1874"/>
            <ac:spMk id="2" creationId="{98205034-64E8-4435-BFA1-43956B7507D0}"/>
          </ac:spMkLst>
        </pc:spChg>
      </pc:sldChg>
      <pc:sldChg chg="modSp add mod">
        <pc:chgData name="Aurelien Domont" userId="6da7715ce44349b3" providerId="LiveId" clId="{9689C7A7-0C7F-47C6-AB86-2D84D75E0147}" dt="2022-10-31T23:33:29.246" v="325" actId="20577"/>
        <pc:sldMkLst>
          <pc:docMk/>
          <pc:sldMk cId="1008653190" sldId="1875"/>
        </pc:sldMkLst>
        <pc:spChg chg="mod">
          <ac:chgData name="Aurelien Domont" userId="6da7715ce44349b3" providerId="LiveId" clId="{9689C7A7-0C7F-47C6-AB86-2D84D75E0147}" dt="2022-10-31T23:33:29.246" v="325" actId="20577"/>
          <ac:spMkLst>
            <pc:docMk/>
            <pc:sldMk cId="1008653190" sldId="1875"/>
            <ac:spMk id="2" creationId="{98205034-64E8-4435-BFA1-43956B7507D0}"/>
          </ac:spMkLst>
        </pc:spChg>
      </pc:sldChg>
      <pc:sldChg chg="modSp add mod">
        <pc:chgData name="Aurelien Domont" userId="6da7715ce44349b3" providerId="LiveId" clId="{9689C7A7-0C7F-47C6-AB86-2D84D75E0147}" dt="2022-10-31T23:33:34.278" v="328" actId="20577"/>
        <pc:sldMkLst>
          <pc:docMk/>
          <pc:sldMk cId="4140850721" sldId="1876"/>
        </pc:sldMkLst>
        <pc:spChg chg="mod">
          <ac:chgData name="Aurelien Domont" userId="6da7715ce44349b3" providerId="LiveId" clId="{9689C7A7-0C7F-47C6-AB86-2D84D75E0147}" dt="2022-10-31T23:33:34.278" v="328" actId="20577"/>
          <ac:spMkLst>
            <pc:docMk/>
            <pc:sldMk cId="4140850721" sldId="1876"/>
            <ac:spMk id="2" creationId="{98205034-64E8-4435-BFA1-43956B7507D0}"/>
          </ac:spMkLst>
        </pc:spChg>
      </pc:sldChg>
      <pc:sldChg chg="add del">
        <pc:chgData name="Aurelien Domont" userId="6da7715ce44349b3" providerId="LiveId" clId="{9689C7A7-0C7F-47C6-AB86-2D84D75E0147}" dt="2022-10-31T23:45:28.642" v="602" actId="47"/>
        <pc:sldMkLst>
          <pc:docMk/>
          <pc:sldMk cId="2832436639" sldId="1919"/>
        </pc:sldMkLst>
      </pc:sldChg>
      <pc:sldChg chg="add del">
        <pc:chgData name="Aurelien Domont" userId="6da7715ce44349b3" providerId="LiveId" clId="{9689C7A7-0C7F-47C6-AB86-2D84D75E0147}" dt="2022-10-31T23:52:02.280" v="850" actId="47"/>
        <pc:sldMkLst>
          <pc:docMk/>
          <pc:sldMk cId="2118159888" sldId="1920"/>
        </pc:sldMkLst>
      </pc:sldChg>
      <pc:sldChg chg="add del">
        <pc:chgData name="Aurelien Domont" userId="6da7715ce44349b3" providerId="LiveId" clId="{9689C7A7-0C7F-47C6-AB86-2D84D75E0147}" dt="2022-10-31T23:53:53.463" v="869" actId="47"/>
        <pc:sldMkLst>
          <pc:docMk/>
          <pc:sldMk cId="2802306045" sldId="1921"/>
        </pc:sldMkLst>
      </pc:sldChg>
      <pc:sldChg chg="add del">
        <pc:chgData name="Aurelien Domont" userId="6da7715ce44349b3" providerId="LiveId" clId="{9689C7A7-0C7F-47C6-AB86-2D84D75E0147}" dt="2022-10-31T23:55:29.818" v="890" actId="47"/>
        <pc:sldMkLst>
          <pc:docMk/>
          <pc:sldMk cId="1726032769" sldId="1922"/>
        </pc:sldMkLst>
      </pc:sldChg>
      <pc:sldChg chg="add">
        <pc:chgData name="Aurelien Domont" userId="6da7715ce44349b3" providerId="LiveId" clId="{9689C7A7-0C7F-47C6-AB86-2D84D75E0147}" dt="2022-11-01T00:05:09.177" v="1055"/>
        <pc:sldMkLst>
          <pc:docMk/>
          <pc:sldMk cId="1762358644" sldId="2135"/>
        </pc:sldMkLst>
      </pc:sldChg>
      <pc:sldChg chg="delSp modSp add mod">
        <pc:chgData name="Aurelien Domont" userId="6da7715ce44349b3" providerId="LiveId" clId="{9689C7A7-0C7F-47C6-AB86-2D84D75E0147}" dt="2022-11-01T03:07:19.152" v="2074" actId="113"/>
        <pc:sldMkLst>
          <pc:docMk/>
          <pc:sldMk cId="2346025138" sldId="2155"/>
        </pc:sldMkLst>
        <pc:spChg chg="mod">
          <ac:chgData name="Aurelien Domont" userId="6da7715ce44349b3" providerId="LiveId" clId="{9689C7A7-0C7F-47C6-AB86-2D84D75E0147}" dt="2022-11-01T02:16:20.830" v="1271" actId="1036"/>
          <ac:spMkLst>
            <pc:docMk/>
            <pc:sldMk cId="2346025138" sldId="2155"/>
            <ac:spMk id="12" creationId="{AEC3A11A-D585-4891-A7AB-E2CF58B637BD}"/>
          </ac:spMkLst>
        </pc:spChg>
        <pc:spChg chg="mod">
          <ac:chgData name="Aurelien Domont" userId="6da7715ce44349b3" providerId="LiveId" clId="{9689C7A7-0C7F-47C6-AB86-2D84D75E0147}" dt="2022-11-01T02:16:20.830" v="1271" actId="1036"/>
          <ac:spMkLst>
            <pc:docMk/>
            <pc:sldMk cId="2346025138" sldId="2155"/>
            <ac:spMk id="14" creationId="{AF2C9B93-915C-4105-9C97-819A28436820}"/>
          </ac:spMkLst>
        </pc:spChg>
        <pc:spChg chg="mod">
          <ac:chgData name="Aurelien Domont" userId="6da7715ce44349b3" providerId="LiveId" clId="{9689C7A7-0C7F-47C6-AB86-2D84D75E0147}" dt="2022-11-01T02:16:20.830" v="1271" actId="1036"/>
          <ac:spMkLst>
            <pc:docMk/>
            <pc:sldMk cId="2346025138" sldId="2155"/>
            <ac:spMk id="15" creationId="{6EBB799A-DD91-4C68-A23D-4F535C1DE6D0}"/>
          </ac:spMkLst>
        </pc:spChg>
        <pc:spChg chg="mod">
          <ac:chgData name="Aurelien Domont" userId="6da7715ce44349b3" providerId="LiveId" clId="{9689C7A7-0C7F-47C6-AB86-2D84D75E0147}" dt="2022-11-01T03:07:19.152" v="2074" actId="113"/>
          <ac:spMkLst>
            <pc:docMk/>
            <pc:sldMk cId="2346025138" sldId="2155"/>
            <ac:spMk id="16" creationId="{6C2BB713-9637-4B9B-938F-E9768876782A}"/>
          </ac:spMkLst>
        </pc:spChg>
        <pc:spChg chg="mod">
          <ac:chgData name="Aurelien Domont" userId="6da7715ce44349b3" providerId="LiveId" clId="{9689C7A7-0C7F-47C6-AB86-2D84D75E0147}" dt="2022-11-01T02:16:20.830" v="1271" actId="1036"/>
          <ac:spMkLst>
            <pc:docMk/>
            <pc:sldMk cId="2346025138" sldId="2155"/>
            <ac:spMk id="17" creationId="{CC6CAF77-0808-4A3C-A405-53BEB5C9BF32}"/>
          </ac:spMkLst>
        </pc:spChg>
        <pc:spChg chg="mod">
          <ac:chgData name="Aurelien Domont" userId="6da7715ce44349b3" providerId="LiveId" clId="{9689C7A7-0C7F-47C6-AB86-2D84D75E0147}" dt="2022-11-01T02:16:20.830" v="1271" actId="1036"/>
          <ac:spMkLst>
            <pc:docMk/>
            <pc:sldMk cId="2346025138" sldId="2155"/>
            <ac:spMk id="18" creationId="{03C8F5C1-E31C-4905-A68D-C6EAC402BE99}"/>
          </ac:spMkLst>
        </pc:spChg>
        <pc:spChg chg="mod">
          <ac:chgData name="Aurelien Domont" userId="6da7715ce44349b3" providerId="LiveId" clId="{9689C7A7-0C7F-47C6-AB86-2D84D75E0147}" dt="2022-11-01T02:16:20.830" v="1271" actId="1036"/>
          <ac:spMkLst>
            <pc:docMk/>
            <pc:sldMk cId="2346025138" sldId="2155"/>
            <ac:spMk id="24" creationId="{3921BBDB-53B5-4760-9FC7-6E553D430312}"/>
          </ac:spMkLst>
        </pc:spChg>
        <pc:spChg chg="mod">
          <ac:chgData name="Aurelien Domont" userId="6da7715ce44349b3" providerId="LiveId" clId="{9689C7A7-0C7F-47C6-AB86-2D84D75E0147}" dt="2022-11-01T02:16:20.830" v="1271" actId="1036"/>
          <ac:spMkLst>
            <pc:docMk/>
            <pc:sldMk cId="2346025138" sldId="2155"/>
            <ac:spMk id="30" creationId="{6C839CA0-84F2-4101-9721-20A5629A3053}"/>
          </ac:spMkLst>
        </pc:spChg>
        <pc:spChg chg="mod">
          <ac:chgData name="Aurelien Domont" userId="6da7715ce44349b3" providerId="LiveId" clId="{9689C7A7-0C7F-47C6-AB86-2D84D75E0147}" dt="2022-11-01T02:16:20.830" v="1271" actId="1036"/>
          <ac:spMkLst>
            <pc:docMk/>
            <pc:sldMk cId="2346025138" sldId="2155"/>
            <ac:spMk id="60" creationId="{AD84A7F9-2952-47E8-B7AC-FD9CC201BB66}"/>
          </ac:spMkLst>
        </pc:spChg>
        <pc:spChg chg="del">
          <ac:chgData name="Aurelien Domont" userId="6da7715ce44349b3" providerId="LiveId" clId="{9689C7A7-0C7F-47C6-AB86-2D84D75E0147}" dt="2022-11-01T02:14:26.505" v="1171" actId="478"/>
          <ac:spMkLst>
            <pc:docMk/>
            <pc:sldMk cId="2346025138" sldId="2155"/>
            <ac:spMk id="65" creationId="{D6534CDC-674F-4AB4-8A22-79E1A8CD2E92}"/>
          </ac:spMkLst>
        </pc:spChg>
        <pc:spChg chg="del">
          <ac:chgData name="Aurelien Domont" userId="6da7715ce44349b3" providerId="LiveId" clId="{9689C7A7-0C7F-47C6-AB86-2D84D75E0147}" dt="2022-11-01T02:14:26.505" v="1171" actId="478"/>
          <ac:spMkLst>
            <pc:docMk/>
            <pc:sldMk cId="2346025138" sldId="2155"/>
            <ac:spMk id="66" creationId="{A663B09E-8C3F-443D-8C96-81B8EFA531E8}"/>
          </ac:spMkLst>
        </pc:spChg>
        <pc:spChg chg="del">
          <ac:chgData name="Aurelien Domont" userId="6da7715ce44349b3" providerId="LiveId" clId="{9689C7A7-0C7F-47C6-AB86-2D84D75E0147}" dt="2022-11-01T02:14:26.505" v="1171" actId="478"/>
          <ac:spMkLst>
            <pc:docMk/>
            <pc:sldMk cId="2346025138" sldId="2155"/>
            <ac:spMk id="67" creationId="{FE63F62A-3736-44BC-B67F-36124629F578}"/>
          </ac:spMkLst>
        </pc:spChg>
        <pc:spChg chg="del">
          <ac:chgData name="Aurelien Domont" userId="6da7715ce44349b3" providerId="LiveId" clId="{9689C7A7-0C7F-47C6-AB86-2D84D75E0147}" dt="2022-11-01T02:14:26.505" v="1171" actId="478"/>
          <ac:spMkLst>
            <pc:docMk/>
            <pc:sldMk cId="2346025138" sldId="2155"/>
            <ac:spMk id="68" creationId="{09FC8043-DFFE-45CA-BBDB-583DBFC2B262}"/>
          </ac:spMkLst>
        </pc:spChg>
        <pc:spChg chg="del">
          <ac:chgData name="Aurelien Domont" userId="6da7715ce44349b3" providerId="LiveId" clId="{9689C7A7-0C7F-47C6-AB86-2D84D75E0147}" dt="2022-11-01T02:14:26.505" v="1171" actId="478"/>
          <ac:spMkLst>
            <pc:docMk/>
            <pc:sldMk cId="2346025138" sldId="2155"/>
            <ac:spMk id="69" creationId="{0C2A6138-D911-46CA-BEC8-060061FF9F4B}"/>
          </ac:spMkLst>
        </pc:spChg>
        <pc:spChg chg="del">
          <ac:chgData name="Aurelien Domont" userId="6da7715ce44349b3" providerId="LiveId" clId="{9689C7A7-0C7F-47C6-AB86-2D84D75E0147}" dt="2022-11-01T02:14:26.505" v="1171" actId="478"/>
          <ac:spMkLst>
            <pc:docMk/>
            <pc:sldMk cId="2346025138" sldId="2155"/>
            <ac:spMk id="70" creationId="{11B80DD3-4AB5-4602-978F-A6D0EEE18F7E}"/>
          </ac:spMkLst>
        </pc:spChg>
        <pc:spChg chg="del">
          <ac:chgData name="Aurelien Domont" userId="6da7715ce44349b3" providerId="LiveId" clId="{9689C7A7-0C7F-47C6-AB86-2D84D75E0147}" dt="2022-11-01T02:14:26.505" v="1171" actId="478"/>
          <ac:spMkLst>
            <pc:docMk/>
            <pc:sldMk cId="2346025138" sldId="2155"/>
            <ac:spMk id="71" creationId="{3907F25A-692B-484D-82A9-855E646528BF}"/>
          </ac:spMkLst>
        </pc:spChg>
        <pc:spChg chg="del">
          <ac:chgData name="Aurelien Domont" userId="6da7715ce44349b3" providerId="LiveId" clId="{9689C7A7-0C7F-47C6-AB86-2D84D75E0147}" dt="2022-11-01T02:14:26.505" v="1171" actId="478"/>
          <ac:spMkLst>
            <pc:docMk/>
            <pc:sldMk cId="2346025138" sldId="2155"/>
            <ac:spMk id="72" creationId="{356FAF76-75C0-4939-ADA9-0D490880999E}"/>
          </ac:spMkLst>
        </pc:spChg>
        <pc:spChg chg="del">
          <ac:chgData name="Aurelien Domont" userId="6da7715ce44349b3" providerId="LiveId" clId="{9689C7A7-0C7F-47C6-AB86-2D84D75E0147}" dt="2022-11-01T02:14:26.505" v="1171" actId="478"/>
          <ac:spMkLst>
            <pc:docMk/>
            <pc:sldMk cId="2346025138" sldId="2155"/>
            <ac:spMk id="73" creationId="{B3864B19-E169-4A43-AF2C-5611FA7E9D59}"/>
          </ac:spMkLst>
        </pc:spChg>
        <pc:spChg chg="del">
          <ac:chgData name="Aurelien Domont" userId="6da7715ce44349b3" providerId="LiveId" clId="{9689C7A7-0C7F-47C6-AB86-2D84D75E0147}" dt="2022-11-01T02:14:26.505" v="1171" actId="478"/>
          <ac:spMkLst>
            <pc:docMk/>
            <pc:sldMk cId="2346025138" sldId="2155"/>
            <ac:spMk id="74" creationId="{835F7EF9-BE41-4A0C-9ED4-4810528F4D4B}"/>
          </ac:spMkLst>
        </pc:spChg>
        <pc:spChg chg="del">
          <ac:chgData name="Aurelien Domont" userId="6da7715ce44349b3" providerId="LiveId" clId="{9689C7A7-0C7F-47C6-AB86-2D84D75E0147}" dt="2022-11-01T02:14:26.505" v="1171" actId="478"/>
          <ac:spMkLst>
            <pc:docMk/>
            <pc:sldMk cId="2346025138" sldId="2155"/>
            <ac:spMk id="75" creationId="{148419C5-5A4D-4B41-80B7-802D22B58DA4}"/>
          </ac:spMkLst>
        </pc:spChg>
        <pc:spChg chg="del">
          <ac:chgData name="Aurelien Domont" userId="6da7715ce44349b3" providerId="LiveId" clId="{9689C7A7-0C7F-47C6-AB86-2D84D75E0147}" dt="2022-11-01T02:14:26.505" v="1171" actId="478"/>
          <ac:spMkLst>
            <pc:docMk/>
            <pc:sldMk cId="2346025138" sldId="2155"/>
            <ac:spMk id="76" creationId="{B37DF318-0EF0-459D-9F3D-9BB86BE04329}"/>
          </ac:spMkLst>
        </pc:spChg>
        <pc:spChg chg="del">
          <ac:chgData name="Aurelien Domont" userId="6da7715ce44349b3" providerId="LiveId" clId="{9689C7A7-0C7F-47C6-AB86-2D84D75E0147}" dt="2022-11-01T02:14:26.505" v="1171" actId="478"/>
          <ac:spMkLst>
            <pc:docMk/>
            <pc:sldMk cId="2346025138" sldId="2155"/>
            <ac:spMk id="77" creationId="{5C24003C-A900-41E6-B1F4-92F48D5F71E5}"/>
          </ac:spMkLst>
        </pc:spChg>
        <pc:spChg chg="del">
          <ac:chgData name="Aurelien Domont" userId="6da7715ce44349b3" providerId="LiveId" clId="{9689C7A7-0C7F-47C6-AB86-2D84D75E0147}" dt="2022-11-01T02:14:26.505" v="1171" actId="478"/>
          <ac:spMkLst>
            <pc:docMk/>
            <pc:sldMk cId="2346025138" sldId="2155"/>
            <ac:spMk id="78" creationId="{5B26BF6D-FFE6-4879-928B-27676689DA01}"/>
          </ac:spMkLst>
        </pc:spChg>
        <pc:spChg chg="del">
          <ac:chgData name="Aurelien Domont" userId="6da7715ce44349b3" providerId="LiveId" clId="{9689C7A7-0C7F-47C6-AB86-2D84D75E0147}" dt="2022-11-01T02:15:17.125" v="1219" actId="478"/>
          <ac:spMkLst>
            <pc:docMk/>
            <pc:sldMk cId="2346025138" sldId="2155"/>
            <ac:spMk id="79" creationId="{E21B820B-4427-467C-BDC8-75217055A5A0}"/>
          </ac:spMkLst>
        </pc:spChg>
        <pc:cxnChg chg="del mod">
          <ac:chgData name="Aurelien Domont" userId="6da7715ce44349b3" providerId="LiveId" clId="{9689C7A7-0C7F-47C6-AB86-2D84D75E0147}" dt="2022-11-01T02:14:26.505" v="1171" actId="478"/>
          <ac:cxnSpMkLst>
            <pc:docMk/>
            <pc:sldMk cId="2346025138" sldId="2155"/>
            <ac:cxnSpMk id="57" creationId="{BA4F90BE-6824-4CFE-B275-CF178B87FCF5}"/>
          </ac:cxnSpMkLst>
        </pc:cxnChg>
        <pc:cxnChg chg="mod">
          <ac:chgData name="Aurelien Domont" userId="6da7715ce44349b3" providerId="LiveId" clId="{9689C7A7-0C7F-47C6-AB86-2D84D75E0147}" dt="2022-11-01T02:16:20.830" v="1271" actId="1036"/>
          <ac:cxnSpMkLst>
            <pc:docMk/>
            <pc:sldMk cId="2346025138" sldId="2155"/>
            <ac:cxnSpMk id="61" creationId="{CCBBD65B-F898-4CA7-913E-E53A25D29E0A}"/>
          </ac:cxnSpMkLst>
        </pc:cxnChg>
        <pc:cxnChg chg="del mod">
          <ac:chgData name="Aurelien Domont" userId="6da7715ce44349b3" providerId="LiveId" clId="{9689C7A7-0C7F-47C6-AB86-2D84D75E0147}" dt="2022-11-01T02:14:26.505" v="1171" actId="478"/>
          <ac:cxnSpMkLst>
            <pc:docMk/>
            <pc:sldMk cId="2346025138" sldId="2155"/>
            <ac:cxnSpMk id="80" creationId="{1D974ED0-C4BC-42F8-B795-D78037E6DE52}"/>
          </ac:cxnSpMkLst>
        </pc:cxnChg>
      </pc:sldChg>
      <pc:sldChg chg="add">
        <pc:chgData name="Aurelien Domont" userId="6da7715ce44349b3" providerId="LiveId" clId="{9689C7A7-0C7F-47C6-AB86-2D84D75E0147}" dt="2022-11-01T00:05:09.177" v="1055"/>
        <pc:sldMkLst>
          <pc:docMk/>
          <pc:sldMk cId="4206465098" sldId="2157"/>
        </pc:sldMkLst>
      </pc:sldChg>
      <pc:sldChg chg="del">
        <pc:chgData name="Aurelien Domont" userId="6da7715ce44349b3" providerId="LiveId" clId="{9689C7A7-0C7F-47C6-AB86-2D84D75E0147}" dt="2022-10-31T23:17:07.640" v="61" actId="47"/>
        <pc:sldMkLst>
          <pc:docMk/>
          <pc:sldMk cId="2342396241" sldId="2168"/>
        </pc:sldMkLst>
      </pc:sldChg>
      <pc:sldChg chg="del">
        <pc:chgData name="Aurelien Domont" userId="6da7715ce44349b3" providerId="LiveId" clId="{9689C7A7-0C7F-47C6-AB86-2D84D75E0147}" dt="2022-10-31T23:17:07.640" v="61" actId="47"/>
        <pc:sldMkLst>
          <pc:docMk/>
          <pc:sldMk cId="2159222150" sldId="2169"/>
        </pc:sldMkLst>
      </pc:sldChg>
      <pc:sldChg chg="add del">
        <pc:chgData name="Aurelien Domont" userId="6da7715ce44349b3" providerId="LiveId" clId="{9689C7A7-0C7F-47C6-AB86-2D84D75E0147}" dt="2022-11-01T02:18:09.579" v="1291" actId="47"/>
        <pc:sldMkLst>
          <pc:docMk/>
          <pc:sldMk cId="1929697781" sldId="2171"/>
        </pc:sldMkLst>
      </pc:sldChg>
      <pc:sldChg chg="del">
        <pc:chgData name="Aurelien Domont" userId="6da7715ce44349b3" providerId="LiveId" clId="{9689C7A7-0C7F-47C6-AB86-2D84D75E0147}" dt="2022-10-31T23:19:11.860" v="95" actId="47"/>
        <pc:sldMkLst>
          <pc:docMk/>
          <pc:sldMk cId="252561860" sldId="2191"/>
        </pc:sldMkLst>
      </pc:sldChg>
      <pc:sldChg chg="del">
        <pc:chgData name="Aurelien Domont" userId="6da7715ce44349b3" providerId="LiveId" clId="{9689C7A7-0C7F-47C6-AB86-2D84D75E0147}" dt="2022-10-31T23:19:11.860" v="95" actId="47"/>
        <pc:sldMkLst>
          <pc:docMk/>
          <pc:sldMk cId="1291775963" sldId="2192"/>
        </pc:sldMkLst>
      </pc:sldChg>
      <pc:sldChg chg="del">
        <pc:chgData name="Aurelien Domont" userId="6da7715ce44349b3" providerId="LiveId" clId="{9689C7A7-0C7F-47C6-AB86-2D84D75E0147}" dt="2022-10-31T23:19:11.860" v="95" actId="47"/>
        <pc:sldMkLst>
          <pc:docMk/>
          <pc:sldMk cId="1177967045" sldId="2195"/>
        </pc:sldMkLst>
      </pc:sldChg>
      <pc:sldChg chg="del">
        <pc:chgData name="Aurelien Domont" userId="6da7715ce44349b3" providerId="LiveId" clId="{9689C7A7-0C7F-47C6-AB86-2D84D75E0147}" dt="2022-10-31T23:19:11.860" v="95" actId="47"/>
        <pc:sldMkLst>
          <pc:docMk/>
          <pc:sldMk cId="793542605" sldId="2196"/>
        </pc:sldMkLst>
      </pc:sldChg>
      <pc:sldChg chg="del">
        <pc:chgData name="Aurelien Domont" userId="6da7715ce44349b3" providerId="LiveId" clId="{9689C7A7-0C7F-47C6-AB86-2D84D75E0147}" dt="2022-10-31T23:19:11.860" v="95" actId="47"/>
        <pc:sldMkLst>
          <pc:docMk/>
          <pc:sldMk cId="1206354650" sldId="2197"/>
        </pc:sldMkLst>
      </pc:sldChg>
      <pc:sldChg chg="del">
        <pc:chgData name="Aurelien Domont" userId="6da7715ce44349b3" providerId="LiveId" clId="{9689C7A7-0C7F-47C6-AB86-2D84D75E0147}" dt="2022-10-31T23:19:11.860" v="95" actId="47"/>
        <pc:sldMkLst>
          <pc:docMk/>
          <pc:sldMk cId="2990142530" sldId="2198"/>
        </pc:sldMkLst>
      </pc:sldChg>
      <pc:sldChg chg="del">
        <pc:chgData name="Aurelien Domont" userId="6da7715ce44349b3" providerId="LiveId" clId="{9689C7A7-0C7F-47C6-AB86-2D84D75E0147}" dt="2022-10-31T23:19:11.860" v="95" actId="47"/>
        <pc:sldMkLst>
          <pc:docMk/>
          <pc:sldMk cId="513527490" sldId="2200"/>
        </pc:sldMkLst>
      </pc:sldChg>
      <pc:sldChg chg="del">
        <pc:chgData name="Aurelien Domont" userId="6da7715ce44349b3" providerId="LiveId" clId="{9689C7A7-0C7F-47C6-AB86-2D84D75E0147}" dt="2022-10-31T23:19:11.860" v="95" actId="47"/>
        <pc:sldMkLst>
          <pc:docMk/>
          <pc:sldMk cId="26917896" sldId="2203"/>
        </pc:sldMkLst>
      </pc:sldChg>
      <pc:sldChg chg="del">
        <pc:chgData name="Aurelien Domont" userId="6da7715ce44349b3" providerId="LiveId" clId="{9689C7A7-0C7F-47C6-AB86-2D84D75E0147}" dt="2022-10-31T23:19:11.860" v="95" actId="47"/>
        <pc:sldMkLst>
          <pc:docMk/>
          <pc:sldMk cId="3260603161" sldId="2204"/>
        </pc:sldMkLst>
      </pc:sldChg>
      <pc:sldChg chg="del">
        <pc:chgData name="Aurelien Domont" userId="6da7715ce44349b3" providerId="LiveId" clId="{9689C7A7-0C7F-47C6-AB86-2D84D75E0147}" dt="2022-10-31T23:19:11.860" v="95" actId="47"/>
        <pc:sldMkLst>
          <pc:docMk/>
          <pc:sldMk cId="3280891638" sldId="2206"/>
        </pc:sldMkLst>
      </pc:sldChg>
      <pc:sldChg chg="del">
        <pc:chgData name="Aurelien Domont" userId="6da7715ce44349b3" providerId="LiveId" clId="{9689C7A7-0C7F-47C6-AB86-2D84D75E0147}" dt="2022-10-31T23:19:11.860" v="95" actId="47"/>
        <pc:sldMkLst>
          <pc:docMk/>
          <pc:sldMk cId="216224630" sldId="2207"/>
        </pc:sldMkLst>
      </pc:sldChg>
      <pc:sldChg chg="del">
        <pc:chgData name="Aurelien Domont" userId="6da7715ce44349b3" providerId="LiveId" clId="{9689C7A7-0C7F-47C6-AB86-2D84D75E0147}" dt="2022-10-31T23:19:11.860" v="95" actId="47"/>
        <pc:sldMkLst>
          <pc:docMk/>
          <pc:sldMk cId="3667406482" sldId="2208"/>
        </pc:sldMkLst>
      </pc:sldChg>
      <pc:sldChg chg="del">
        <pc:chgData name="Aurelien Domont" userId="6da7715ce44349b3" providerId="LiveId" clId="{9689C7A7-0C7F-47C6-AB86-2D84D75E0147}" dt="2022-10-31T23:19:11.860" v="95" actId="47"/>
        <pc:sldMkLst>
          <pc:docMk/>
          <pc:sldMk cId="987926823" sldId="2213"/>
        </pc:sldMkLst>
      </pc:sldChg>
      <pc:sldChg chg="del">
        <pc:chgData name="Aurelien Domont" userId="6da7715ce44349b3" providerId="LiveId" clId="{9689C7A7-0C7F-47C6-AB86-2D84D75E0147}" dt="2022-10-31T23:19:11.860" v="95" actId="47"/>
        <pc:sldMkLst>
          <pc:docMk/>
          <pc:sldMk cId="2829018850" sldId="2214"/>
        </pc:sldMkLst>
      </pc:sldChg>
      <pc:sldChg chg="del">
        <pc:chgData name="Aurelien Domont" userId="6da7715ce44349b3" providerId="LiveId" clId="{9689C7A7-0C7F-47C6-AB86-2D84D75E0147}" dt="2022-10-31T23:19:11.860" v="95" actId="47"/>
        <pc:sldMkLst>
          <pc:docMk/>
          <pc:sldMk cId="3976172455" sldId="2226"/>
        </pc:sldMkLst>
      </pc:sldChg>
      <pc:sldChg chg="addSp delSp modSp add mod">
        <pc:chgData name="Aurelien Domont" userId="6da7715ce44349b3" providerId="LiveId" clId="{9689C7A7-0C7F-47C6-AB86-2D84D75E0147}" dt="2022-11-01T00:09:09.217" v="1139" actId="207"/>
        <pc:sldMkLst>
          <pc:docMk/>
          <pc:sldMk cId="2826435675" sldId="2264"/>
        </pc:sldMkLst>
        <pc:spChg chg="add mod">
          <ac:chgData name="Aurelien Domont" userId="6da7715ce44349b3" providerId="LiveId" clId="{9689C7A7-0C7F-47C6-AB86-2D84D75E0147}" dt="2022-11-01T00:08:37.293" v="1128"/>
          <ac:spMkLst>
            <pc:docMk/>
            <pc:sldMk cId="2826435675" sldId="2264"/>
            <ac:spMk id="3" creationId="{B4A2A54E-2A0E-4420-687E-6DC8B92F551C}"/>
          </ac:spMkLst>
        </pc:spChg>
        <pc:spChg chg="add mod">
          <ac:chgData name="Aurelien Domont" userId="6da7715ce44349b3" providerId="LiveId" clId="{9689C7A7-0C7F-47C6-AB86-2D84D75E0147}" dt="2022-11-01T00:08:37.293" v="1128"/>
          <ac:spMkLst>
            <pc:docMk/>
            <pc:sldMk cId="2826435675" sldId="2264"/>
            <ac:spMk id="4" creationId="{D9976577-D3AD-2355-ED44-9578243E57A3}"/>
          </ac:spMkLst>
        </pc:spChg>
        <pc:spChg chg="add mod">
          <ac:chgData name="Aurelien Domont" userId="6da7715ce44349b3" providerId="LiveId" clId="{9689C7A7-0C7F-47C6-AB86-2D84D75E0147}" dt="2022-11-01T00:08:37.293" v="1128"/>
          <ac:spMkLst>
            <pc:docMk/>
            <pc:sldMk cId="2826435675" sldId="2264"/>
            <ac:spMk id="5" creationId="{154F1FBF-5D87-8B5D-AF2F-FE4E5380FBBF}"/>
          </ac:spMkLst>
        </pc:spChg>
        <pc:spChg chg="add mod">
          <ac:chgData name="Aurelien Domont" userId="6da7715ce44349b3" providerId="LiveId" clId="{9689C7A7-0C7F-47C6-AB86-2D84D75E0147}" dt="2022-11-01T00:08:37.293" v="1128"/>
          <ac:spMkLst>
            <pc:docMk/>
            <pc:sldMk cId="2826435675" sldId="2264"/>
            <ac:spMk id="6" creationId="{B4A7C1B4-BABE-1472-562F-905E9B0831FB}"/>
          </ac:spMkLst>
        </pc:spChg>
        <pc:spChg chg="add mod">
          <ac:chgData name="Aurelien Domont" userId="6da7715ce44349b3" providerId="LiveId" clId="{9689C7A7-0C7F-47C6-AB86-2D84D75E0147}" dt="2022-11-01T00:08:37.293" v="1128"/>
          <ac:spMkLst>
            <pc:docMk/>
            <pc:sldMk cId="2826435675" sldId="2264"/>
            <ac:spMk id="7" creationId="{D2C62401-1344-2008-37E0-63E904A3AF4E}"/>
          </ac:spMkLst>
        </pc:spChg>
        <pc:spChg chg="add mod">
          <ac:chgData name="Aurelien Domont" userId="6da7715ce44349b3" providerId="LiveId" clId="{9689C7A7-0C7F-47C6-AB86-2D84D75E0147}" dt="2022-11-01T00:08:37.293" v="1128"/>
          <ac:spMkLst>
            <pc:docMk/>
            <pc:sldMk cId="2826435675" sldId="2264"/>
            <ac:spMk id="8" creationId="{1C5323B2-71F4-1903-F5BE-3755FAC99135}"/>
          </ac:spMkLst>
        </pc:spChg>
        <pc:spChg chg="del">
          <ac:chgData name="Aurelien Domont" userId="6da7715ce44349b3" providerId="LiveId" clId="{9689C7A7-0C7F-47C6-AB86-2D84D75E0147}" dt="2022-11-01T00:08:37.101" v="1127" actId="478"/>
          <ac:spMkLst>
            <pc:docMk/>
            <pc:sldMk cId="2826435675" sldId="2264"/>
            <ac:spMk id="60" creationId="{D7FE79AC-8102-42A4-85B2-BA3C025F66A2}"/>
          </ac:spMkLst>
        </pc:spChg>
        <pc:spChg chg="del">
          <ac:chgData name="Aurelien Domont" userId="6da7715ce44349b3" providerId="LiveId" clId="{9689C7A7-0C7F-47C6-AB86-2D84D75E0147}" dt="2022-11-01T00:08:37.101" v="1127" actId="478"/>
          <ac:spMkLst>
            <pc:docMk/>
            <pc:sldMk cId="2826435675" sldId="2264"/>
            <ac:spMk id="61" creationId="{CFCE2A13-3281-42F0-9E3D-DCF6B6A3BA07}"/>
          </ac:spMkLst>
        </pc:spChg>
        <pc:spChg chg="del">
          <ac:chgData name="Aurelien Domont" userId="6da7715ce44349b3" providerId="LiveId" clId="{9689C7A7-0C7F-47C6-AB86-2D84D75E0147}" dt="2022-11-01T00:08:37.101" v="1127" actId="478"/>
          <ac:spMkLst>
            <pc:docMk/>
            <pc:sldMk cId="2826435675" sldId="2264"/>
            <ac:spMk id="62" creationId="{B24BB676-FDCB-46DE-A580-B04F9193D736}"/>
          </ac:spMkLst>
        </pc:spChg>
        <pc:spChg chg="del">
          <ac:chgData name="Aurelien Domont" userId="6da7715ce44349b3" providerId="LiveId" clId="{9689C7A7-0C7F-47C6-AB86-2D84D75E0147}" dt="2022-11-01T00:08:37.101" v="1127" actId="478"/>
          <ac:spMkLst>
            <pc:docMk/>
            <pc:sldMk cId="2826435675" sldId="2264"/>
            <ac:spMk id="63" creationId="{BE93EF03-424F-4C8C-8E9B-3B7101B0632F}"/>
          </ac:spMkLst>
        </pc:spChg>
        <pc:spChg chg="del">
          <ac:chgData name="Aurelien Domont" userId="6da7715ce44349b3" providerId="LiveId" clId="{9689C7A7-0C7F-47C6-AB86-2D84D75E0147}" dt="2022-11-01T00:08:37.101" v="1127" actId="478"/>
          <ac:spMkLst>
            <pc:docMk/>
            <pc:sldMk cId="2826435675" sldId="2264"/>
            <ac:spMk id="64" creationId="{98FCC64D-DC7C-493D-9174-F3D4AA26D031}"/>
          </ac:spMkLst>
        </pc:spChg>
        <pc:spChg chg="del">
          <ac:chgData name="Aurelien Domont" userId="6da7715ce44349b3" providerId="LiveId" clId="{9689C7A7-0C7F-47C6-AB86-2D84D75E0147}" dt="2022-11-01T00:08:37.101" v="1127" actId="478"/>
          <ac:spMkLst>
            <pc:docMk/>
            <pc:sldMk cId="2826435675" sldId="2264"/>
            <ac:spMk id="65" creationId="{2DF91A00-00B2-4F8A-B4CE-AFC2BBD8D28D}"/>
          </ac:spMkLst>
        </pc:spChg>
        <pc:spChg chg="mod">
          <ac:chgData name="Aurelien Domont" userId="6da7715ce44349b3" providerId="LiveId" clId="{9689C7A7-0C7F-47C6-AB86-2D84D75E0147}" dt="2022-11-01T00:09:04.413" v="1137" actId="207"/>
          <ac:spMkLst>
            <pc:docMk/>
            <pc:sldMk cId="2826435675" sldId="2264"/>
            <ac:spMk id="96" creationId="{C6176997-2C40-4461-B178-9AF06DC7F40E}"/>
          </ac:spMkLst>
        </pc:spChg>
        <pc:spChg chg="mod">
          <ac:chgData name="Aurelien Domont" userId="6da7715ce44349b3" providerId="LiveId" clId="{9689C7A7-0C7F-47C6-AB86-2D84D75E0147}" dt="2022-11-01T00:09:04.413" v="1137" actId="207"/>
          <ac:spMkLst>
            <pc:docMk/>
            <pc:sldMk cId="2826435675" sldId="2264"/>
            <ac:spMk id="99" creationId="{2DB93F9E-B1C9-4A41-8709-419FF2D61EF5}"/>
          </ac:spMkLst>
        </pc:spChg>
        <pc:spChg chg="mod">
          <ac:chgData name="Aurelien Domont" userId="6da7715ce44349b3" providerId="LiveId" clId="{9689C7A7-0C7F-47C6-AB86-2D84D75E0147}" dt="2022-11-01T00:09:06.562" v="1138" actId="207"/>
          <ac:spMkLst>
            <pc:docMk/>
            <pc:sldMk cId="2826435675" sldId="2264"/>
            <ac:spMk id="101" creationId="{F5340496-77D2-489A-9CC9-A683CD7AEB5C}"/>
          </ac:spMkLst>
        </pc:spChg>
        <pc:spChg chg="mod">
          <ac:chgData name="Aurelien Domont" userId="6da7715ce44349b3" providerId="LiveId" clId="{9689C7A7-0C7F-47C6-AB86-2D84D75E0147}" dt="2022-11-01T00:09:04.413" v="1137" actId="207"/>
          <ac:spMkLst>
            <pc:docMk/>
            <pc:sldMk cId="2826435675" sldId="2264"/>
            <ac:spMk id="104" creationId="{2ABE6662-C4E5-435A-9FBA-A82576213985}"/>
          </ac:spMkLst>
        </pc:spChg>
        <pc:spChg chg="mod">
          <ac:chgData name="Aurelien Domont" userId="6da7715ce44349b3" providerId="LiveId" clId="{9689C7A7-0C7F-47C6-AB86-2D84D75E0147}" dt="2022-11-01T00:09:09.217" v="1139" actId="207"/>
          <ac:spMkLst>
            <pc:docMk/>
            <pc:sldMk cId="2826435675" sldId="2264"/>
            <ac:spMk id="109" creationId="{89EB07F8-0F20-43FF-9102-72A68DBDBFAA}"/>
          </ac:spMkLst>
        </pc:spChg>
        <pc:spChg chg="mod">
          <ac:chgData name="Aurelien Domont" userId="6da7715ce44349b3" providerId="LiveId" clId="{9689C7A7-0C7F-47C6-AB86-2D84D75E0147}" dt="2022-11-01T00:09:04.413" v="1137" actId="207"/>
          <ac:spMkLst>
            <pc:docMk/>
            <pc:sldMk cId="2826435675" sldId="2264"/>
            <ac:spMk id="133" creationId="{B6DB05D4-35C0-4881-B68A-A3DE2E0B5B54}"/>
          </ac:spMkLst>
        </pc:spChg>
      </pc:sldChg>
      <pc:sldChg chg="modSp add mod">
        <pc:chgData name="Aurelien Domont" userId="6da7715ce44349b3" providerId="LiveId" clId="{9689C7A7-0C7F-47C6-AB86-2D84D75E0147}" dt="2022-11-01T00:08:30.508" v="1126" actId="108"/>
        <pc:sldMkLst>
          <pc:docMk/>
          <pc:sldMk cId="2358097341" sldId="2266"/>
        </pc:sldMkLst>
        <pc:spChg chg="mod">
          <ac:chgData name="Aurelien Domont" userId="6da7715ce44349b3" providerId="LiveId" clId="{9689C7A7-0C7F-47C6-AB86-2D84D75E0147}" dt="2022-11-01T00:08:18.657" v="1125" actId="207"/>
          <ac:spMkLst>
            <pc:docMk/>
            <pc:sldMk cId="2358097341" sldId="2266"/>
            <ac:spMk id="30" creationId="{69BF88CE-7AEE-44B1-925A-30DC979DA0B4}"/>
          </ac:spMkLst>
        </pc:spChg>
        <pc:spChg chg="mod">
          <ac:chgData name="Aurelien Domont" userId="6da7715ce44349b3" providerId="LiveId" clId="{9689C7A7-0C7F-47C6-AB86-2D84D75E0147}" dt="2022-11-01T00:08:18.657" v="1125" actId="207"/>
          <ac:spMkLst>
            <pc:docMk/>
            <pc:sldMk cId="2358097341" sldId="2266"/>
            <ac:spMk id="33" creationId="{E3D180F8-06E3-4717-ABB0-1955E08E590B}"/>
          </ac:spMkLst>
        </pc:spChg>
        <pc:spChg chg="mod">
          <ac:chgData name="Aurelien Domont" userId="6da7715ce44349b3" providerId="LiveId" clId="{9689C7A7-0C7F-47C6-AB86-2D84D75E0147}" dt="2022-11-01T00:08:18.657" v="1125" actId="207"/>
          <ac:spMkLst>
            <pc:docMk/>
            <pc:sldMk cId="2358097341" sldId="2266"/>
            <ac:spMk id="35" creationId="{D5E039DC-354F-4019-A3DD-38AEBEE8F052}"/>
          </ac:spMkLst>
        </pc:spChg>
        <pc:spChg chg="mod">
          <ac:chgData name="Aurelien Domont" userId="6da7715ce44349b3" providerId="LiveId" clId="{9689C7A7-0C7F-47C6-AB86-2D84D75E0147}" dt="2022-11-01T00:08:18.657" v="1125" actId="207"/>
          <ac:spMkLst>
            <pc:docMk/>
            <pc:sldMk cId="2358097341" sldId="2266"/>
            <ac:spMk id="38" creationId="{6A469546-F9FB-41ED-860D-F0CC7EF54F64}"/>
          </ac:spMkLst>
        </pc:spChg>
        <pc:spChg chg="mod">
          <ac:chgData name="Aurelien Domont" userId="6da7715ce44349b3" providerId="LiveId" clId="{9689C7A7-0C7F-47C6-AB86-2D84D75E0147}" dt="2022-11-01T00:08:18.657" v="1125" actId="207"/>
          <ac:spMkLst>
            <pc:docMk/>
            <pc:sldMk cId="2358097341" sldId="2266"/>
            <ac:spMk id="43" creationId="{CDC6A29A-2995-49FA-B1E7-FA163569BCA9}"/>
          </ac:spMkLst>
        </pc:spChg>
        <pc:spChg chg="mod">
          <ac:chgData name="Aurelien Domont" userId="6da7715ce44349b3" providerId="LiveId" clId="{9689C7A7-0C7F-47C6-AB86-2D84D75E0147}" dt="2022-11-01T00:07:37.268" v="1121" actId="207"/>
          <ac:spMkLst>
            <pc:docMk/>
            <pc:sldMk cId="2358097341" sldId="2266"/>
            <ac:spMk id="60" creationId="{D7FE79AC-8102-42A4-85B2-BA3C025F66A2}"/>
          </ac:spMkLst>
        </pc:spChg>
        <pc:spChg chg="mod">
          <ac:chgData name="Aurelien Domont" userId="6da7715ce44349b3" providerId="LiveId" clId="{9689C7A7-0C7F-47C6-AB86-2D84D75E0147}" dt="2022-11-01T00:07:29.440" v="1118" actId="552"/>
          <ac:spMkLst>
            <pc:docMk/>
            <pc:sldMk cId="2358097341" sldId="2266"/>
            <ac:spMk id="61" creationId="{CFCE2A13-3281-42F0-9E3D-DCF6B6A3BA07}"/>
          </ac:spMkLst>
        </pc:spChg>
        <pc:spChg chg="mod">
          <ac:chgData name="Aurelien Domont" userId="6da7715ce44349b3" providerId="LiveId" clId="{9689C7A7-0C7F-47C6-AB86-2D84D75E0147}" dt="2022-11-01T00:08:30.508" v="1126" actId="108"/>
          <ac:spMkLst>
            <pc:docMk/>
            <pc:sldMk cId="2358097341" sldId="2266"/>
            <ac:spMk id="62" creationId="{B24BB676-FDCB-46DE-A580-B04F9193D736}"/>
          </ac:spMkLst>
        </pc:spChg>
        <pc:spChg chg="mod">
          <ac:chgData name="Aurelien Domont" userId="6da7715ce44349b3" providerId="LiveId" clId="{9689C7A7-0C7F-47C6-AB86-2D84D75E0147}" dt="2022-11-01T00:07:29.440" v="1118" actId="552"/>
          <ac:spMkLst>
            <pc:docMk/>
            <pc:sldMk cId="2358097341" sldId="2266"/>
            <ac:spMk id="63" creationId="{BE93EF03-424F-4C8C-8E9B-3B7101B0632F}"/>
          </ac:spMkLst>
        </pc:spChg>
        <pc:spChg chg="mod">
          <ac:chgData name="Aurelien Domont" userId="6da7715ce44349b3" providerId="LiveId" clId="{9689C7A7-0C7F-47C6-AB86-2D84D75E0147}" dt="2022-11-01T00:07:57.618" v="1124" actId="207"/>
          <ac:spMkLst>
            <pc:docMk/>
            <pc:sldMk cId="2358097341" sldId="2266"/>
            <ac:spMk id="64" creationId="{98FCC64D-DC7C-493D-9174-F3D4AA26D031}"/>
          </ac:spMkLst>
        </pc:spChg>
        <pc:spChg chg="mod">
          <ac:chgData name="Aurelien Domont" userId="6da7715ce44349b3" providerId="LiveId" clId="{9689C7A7-0C7F-47C6-AB86-2D84D75E0147}" dt="2022-11-01T00:07:33.144" v="1120" actId="20577"/>
          <ac:spMkLst>
            <pc:docMk/>
            <pc:sldMk cId="2358097341" sldId="2266"/>
            <ac:spMk id="65" creationId="{2DF91A00-00B2-4F8A-B4CE-AFC2BBD8D28D}"/>
          </ac:spMkLst>
        </pc:spChg>
      </pc:sldChg>
      <pc:sldChg chg="addSp delSp modSp add mod">
        <pc:chgData name="Aurelien Domont" userId="6da7715ce44349b3" providerId="LiveId" clId="{9689C7A7-0C7F-47C6-AB86-2D84D75E0147}" dt="2022-11-01T00:09:20.530" v="1141" actId="207"/>
        <pc:sldMkLst>
          <pc:docMk/>
          <pc:sldMk cId="2417600701" sldId="2267"/>
        </pc:sldMkLst>
        <pc:spChg chg="add mod">
          <ac:chgData name="Aurelien Domont" userId="6da7715ce44349b3" providerId="LiveId" clId="{9689C7A7-0C7F-47C6-AB86-2D84D75E0147}" dt="2022-11-01T00:08:40.663" v="1130"/>
          <ac:spMkLst>
            <pc:docMk/>
            <pc:sldMk cId="2417600701" sldId="2267"/>
            <ac:spMk id="3" creationId="{D8A71B78-AF12-108A-2CE5-A0EB4AFAB895}"/>
          </ac:spMkLst>
        </pc:spChg>
        <pc:spChg chg="add mod">
          <ac:chgData name="Aurelien Domont" userId="6da7715ce44349b3" providerId="LiveId" clId="{9689C7A7-0C7F-47C6-AB86-2D84D75E0147}" dt="2022-11-01T00:08:40.663" v="1130"/>
          <ac:spMkLst>
            <pc:docMk/>
            <pc:sldMk cId="2417600701" sldId="2267"/>
            <ac:spMk id="4" creationId="{60B731D1-C7F5-AA34-9E61-3EC1EF2D5077}"/>
          </ac:spMkLst>
        </pc:spChg>
        <pc:spChg chg="add mod">
          <ac:chgData name="Aurelien Domont" userId="6da7715ce44349b3" providerId="LiveId" clId="{9689C7A7-0C7F-47C6-AB86-2D84D75E0147}" dt="2022-11-01T00:08:40.663" v="1130"/>
          <ac:spMkLst>
            <pc:docMk/>
            <pc:sldMk cId="2417600701" sldId="2267"/>
            <ac:spMk id="5" creationId="{5074699E-B7B6-BA9B-4AB2-3CFF193F2F31}"/>
          </ac:spMkLst>
        </pc:spChg>
        <pc:spChg chg="add mod">
          <ac:chgData name="Aurelien Domont" userId="6da7715ce44349b3" providerId="LiveId" clId="{9689C7A7-0C7F-47C6-AB86-2D84D75E0147}" dt="2022-11-01T00:08:40.663" v="1130"/>
          <ac:spMkLst>
            <pc:docMk/>
            <pc:sldMk cId="2417600701" sldId="2267"/>
            <ac:spMk id="6" creationId="{C1F1752A-1924-B40A-CDB7-5950B42428CB}"/>
          </ac:spMkLst>
        </pc:spChg>
        <pc:spChg chg="add mod">
          <ac:chgData name="Aurelien Domont" userId="6da7715ce44349b3" providerId="LiveId" clId="{9689C7A7-0C7F-47C6-AB86-2D84D75E0147}" dt="2022-11-01T00:08:40.663" v="1130"/>
          <ac:spMkLst>
            <pc:docMk/>
            <pc:sldMk cId="2417600701" sldId="2267"/>
            <ac:spMk id="7" creationId="{D2C01977-CA23-9CBC-F9F9-CC6D157D17B2}"/>
          </ac:spMkLst>
        </pc:spChg>
        <pc:spChg chg="add mod">
          <ac:chgData name="Aurelien Domont" userId="6da7715ce44349b3" providerId="LiveId" clId="{9689C7A7-0C7F-47C6-AB86-2D84D75E0147}" dt="2022-11-01T00:08:40.663" v="1130"/>
          <ac:spMkLst>
            <pc:docMk/>
            <pc:sldMk cId="2417600701" sldId="2267"/>
            <ac:spMk id="8" creationId="{51E4A797-9CF1-5267-C8C9-2B852D6FFC45}"/>
          </ac:spMkLst>
        </pc:spChg>
        <pc:spChg chg="del">
          <ac:chgData name="Aurelien Domont" userId="6da7715ce44349b3" providerId="LiveId" clId="{9689C7A7-0C7F-47C6-AB86-2D84D75E0147}" dt="2022-11-01T00:08:40.445" v="1129" actId="478"/>
          <ac:spMkLst>
            <pc:docMk/>
            <pc:sldMk cId="2417600701" sldId="2267"/>
            <ac:spMk id="60" creationId="{D7FE79AC-8102-42A4-85B2-BA3C025F66A2}"/>
          </ac:spMkLst>
        </pc:spChg>
        <pc:spChg chg="del">
          <ac:chgData name="Aurelien Domont" userId="6da7715ce44349b3" providerId="LiveId" clId="{9689C7A7-0C7F-47C6-AB86-2D84D75E0147}" dt="2022-11-01T00:08:40.445" v="1129" actId="478"/>
          <ac:spMkLst>
            <pc:docMk/>
            <pc:sldMk cId="2417600701" sldId="2267"/>
            <ac:spMk id="61" creationId="{CFCE2A13-3281-42F0-9E3D-DCF6B6A3BA07}"/>
          </ac:spMkLst>
        </pc:spChg>
        <pc:spChg chg="del">
          <ac:chgData name="Aurelien Domont" userId="6da7715ce44349b3" providerId="LiveId" clId="{9689C7A7-0C7F-47C6-AB86-2D84D75E0147}" dt="2022-11-01T00:08:40.445" v="1129" actId="478"/>
          <ac:spMkLst>
            <pc:docMk/>
            <pc:sldMk cId="2417600701" sldId="2267"/>
            <ac:spMk id="62" creationId="{B24BB676-FDCB-46DE-A580-B04F9193D736}"/>
          </ac:spMkLst>
        </pc:spChg>
        <pc:spChg chg="del">
          <ac:chgData name="Aurelien Domont" userId="6da7715ce44349b3" providerId="LiveId" clId="{9689C7A7-0C7F-47C6-AB86-2D84D75E0147}" dt="2022-11-01T00:08:40.445" v="1129" actId="478"/>
          <ac:spMkLst>
            <pc:docMk/>
            <pc:sldMk cId="2417600701" sldId="2267"/>
            <ac:spMk id="63" creationId="{BE93EF03-424F-4C8C-8E9B-3B7101B0632F}"/>
          </ac:spMkLst>
        </pc:spChg>
        <pc:spChg chg="del">
          <ac:chgData name="Aurelien Domont" userId="6da7715ce44349b3" providerId="LiveId" clId="{9689C7A7-0C7F-47C6-AB86-2D84D75E0147}" dt="2022-11-01T00:08:40.445" v="1129" actId="478"/>
          <ac:spMkLst>
            <pc:docMk/>
            <pc:sldMk cId="2417600701" sldId="2267"/>
            <ac:spMk id="64" creationId="{98FCC64D-DC7C-493D-9174-F3D4AA26D031}"/>
          </ac:spMkLst>
        </pc:spChg>
        <pc:spChg chg="del">
          <ac:chgData name="Aurelien Domont" userId="6da7715ce44349b3" providerId="LiveId" clId="{9689C7A7-0C7F-47C6-AB86-2D84D75E0147}" dt="2022-11-01T00:08:40.445" v="1129" actId="478"/>
          <ac:spMkLst>
            <pc:docMk/>
            <pc:sldMk cId="2417600701" sldId="2267"/>
            <ac:spMk id="65" creationId="{2DF91A00-00B2-4F8A-B4CE-AFC2BBD8D28D}"/>
          </ac:spMkLst>
        </pc:spChg>
        <pc:spChg chg="mod">
          <ac:chgData name="Aurelien Domont" userId="6da7715ce44349b3" providerId="LiveId" clId="{9689C7A7-0C7F-47C6-AB86-2D84D75E0147}" dt="2022-11-01T00:09:17.842" v="1140" actId="207"/>
          <ac:spMkLst>
            <pc:docMk/>
            <pc:sldMk cId="2417600701" sldId="2267"/>
            <ac:spMk id="96" creationId="{C6176997-2C40-4461-B178-9AF06DC7F40E}"/>
          </ac:spMkLst>
        </pc:spChg>
        <pc:spChg chg="mod">
          <ac:chgData name="Aurelien Domont" userId="6da7715ce44349b3" providerId="LiveId" clId="{9689C7A7-0C7F-47C6-AB86-2D84D75E0147}" dt="2022-11-01T00:09:17.842" v="1140" actId="207"/>
          <ac:spMkLst>
            <pc:docMk/>
            <pc:sldMk cId="2417600701" sldId="2267"/>
            <ac:spMk id="99" creationId="{2DB93F9E-B1C9-4A41-8709-419FF2D61EF5}"/>
          </ac:spMkLst>
        </pc:spChg>
        <pc:spChg chg="mod">
          <ac:chgData name="Aurelien Domont" userId="6da7715ce44349b3" providerId="LiveId" clId="{9689C7A7-0C7F-47C6-AB86-2D84D75E0147}" dt="2022-11-01T00:09:20.530" v="1141" actId="207"/>
          <ac:spMkLst>
            <pc:docMk/>
            <pc:sldMk cId="2417600701" sldId="2267"/>
            <ac:spMk id="101" creationId="{F5340496-77D2-489A-9CC9-A683CD7AEB5C}"/>
          </ac:spMkLst>
        </pc:spChg>
        <pc:spChg chg="mod">
          <ac:chgData name="Aurelien Domont" userId="6da7715ce44349b3" providerId="LiveId" clId="{9689C7A7-0C7F-47C6-AB86-2D84D75E0147}" dt="2022-11-01T00:09:17.842" v="1140" actId="207"/>
          <ac:spMkLst>
            <pc:docMk/>
            <pc:sldMk cId="2417600701" sldId="2267"/>
            <ac:spMk id="104" creationId="{2ABE6662-C4E5-435A-9FBA-A82576213985}"/>
          </ac:spMkLst>
        </pc:spChg>
        <pc:spChg chg="mod">
          <ac:chgData name="Aurelien Domont" userId="6da7715ce44349b3" providerId="LiveId" clId="{9689C7A7-0C7F-47C6-AB86-2D84D75E0147}" dt="2022-11-01T00:09:17.842" v="1140" actId="207"/>
          <ac:spMkLst>
            <pc:docMk/>
            <pc:sldMk cId="2417600701" sldId="2267"/>
            <ac:spMk id="109" creationId="{89EB07F8-0F20-43FF-9102-72A68DBDBFAA}"/>
          </ac:spMkLst>
        </pc:spChg>
      </pc:sldChg>
      <pc:sldChg chg="addSp delSp modSp add mod">
        <pc:chgData name="Aurelien Domont" userId="6da7715ce44349b3" providerId="LiveId" clId="{9689C7A7-0C7F-47C6-AB86-2D84D75E0147}" dt="2022-11-01T00:09:25.390" v="1142" actId="207"/>
        <pc:sldMkLst>
          <pc:docMk/>
          <pc:sldMk cId="3394476268" sldId="2268"/>
        </pc:sldMkLst>
        <pc:spChg chg="add mod">
          <ac:chgData name="Aurelien Domont" userId="6da7715ce44349b3" providerId="LiveId" clId="{9689C7A7-0C7F-47C6-AB86-2D84D75E0147}" dt="2022-11-01T00:08:44.166" v="1132"/>
          <ac:spMkLst>
            <pc:docMk/>
            <pc:sldMk cId="3394476268" sldId="2268"/>
            <ac:spMk id="3" creationId="{59908973-8959-A32C-93BF-069446E4BE58}"/>
          </ac:spMkLst>
        </pc:spChg>
        <pc:spChg chg="add mod">
          <ac:chgData name="Aurelien Domont" userId="6da7715ce44349b3" providerId="LiveId" clId="{9689C7A7-0C7F-47C6-AB86-2D84D75E0147}" dt="2022-11-01T00:08:44.166" v="1132"/>
          <ac:spMkLst>
            <pc:docMk/>
            <pc:sldMk cId="3394476268" sldId="2268"/>
            <ac:spMk id="4" creationId="{84BF8A1C-2009-8414-7E34-998D951BA202}"/>
          </ac:spMkLst>
        </pc:spChg>
        <pc:spChg chg="add mod">
          <ac:chgData name="Aurelien Domont" userId="6da7715ce44349b3" providerId="LiveId" clId="{9689C7A7-0C7F-47C6-AB86-2D84D75E0147}" dt="2022-11-01T00:08:44.166" v="1132"/>
          <ac:spMkLst>
            <pc:docMk/>
            <pc:sldMk cId="3394476268" sldId="2268"/>
            <ac:spMk id="5" creationId="{C79ECAA1-7580-774A-2E56-9C7D996A2245}"/>
          </ac:spMkLst>
        </pc:spChg>
        <pc:spChg chg="add mod">
          <ac:chgData name="Aurelien Domont" userId="6da7715ce44349b3" providerId="LiveId" clId="{9689C7A7-0C7F-47C6-AB86-2D84D75E0147}" dt="2022-11-01T00:08:44.166" v="1132"/>
          <ac:spMkLst>
            <pc:docMk/>
            <pc:sldMk cId="3394476268" sldId="2268"/>
            <ac:spMk id="6" creationId="{A91272E9-5871-5B62-8C53-DC71981E83D6}"/>
          </ac:spMkLst>
        </pc:spChg>
        <pc:spChg chg="add mod">
          <ac:chgData name="Aurelien Domont" userId="6da7715ce44349b3" providerId="LiveId" clId="{9689C7A7-0C7F-47C6-AB86-2D84D75E0147}" dt="2022-11-01T00:08:44.166" v="1132"/>
          <ac:spMkLst>
            <pc:docMk/>
            <pc:sldMk cId="3394476268" sldId="2268"/>
            <ac:spMk id="7" creationId="{C8176730-E2D1-94A2-2D92-48502F6F6FD4}"/>
          </ac:spMkLst>
        </pc:spChg>
        <pc:spChg chg="add mod">
          <ac:chgData name="Aurelien Domont" userId="6da7715ce44349b3" providerId="LiveId" clId="{9689C7A7-0C7F-47C6-AB86-2D84D75E0147}" dt="2022-11-01T00:08:44.166" v="1132"/>
          <ac:spMkLst>
            <pc:docMk/>
            <pc:sldMk cId="3394476268" sldId="2268"/>
            <ac:spMk id="8" creationId="{6DA548F5-8D78-466C-E783-0B88ACF6841A}"/>
          </ac:spMkLst>
        </pc:spChg>
        <pc:spChg chg="del">
          <ac:chgData name="Aurelien Domont" userId="6da7715ce44349b3" providerId="LiveId" clId="{9689C7A7-0C7F-47C6-AB86-2D84D75E0147}" dt="2022-11-01T00:08:43.998" v="1131" actId="478"/>
          <ac:spMkLst>
            <pc:docMk/>
            <pc:sldMk cId="3394476268" sldId="2268"/>
            <ac:spMk id="60" creationId="{D7FE79AC-8102-42A4-85B2-BA3C025F66A2}"/>
          </ac:spMkLst>
        </pc:spChg>
        <pc:spChg chg="del">
          <ac:chgData name="Aurelien Domont" userId="6da7715ce44349b3" providerId="LiveId" clId="{9689C7A7-0C7F-47C6-AB86-2D84D75E0147}" dt="2022-11-01T00:08:43.998" v="1131" actId="478"/>
          <ac:spMkLst>
            <pc:docMk/>
            <pc:sldMk cId="3394476268" sldId="2268"/>
            <ac:spMk id="61" creationId="{CFCE2A13-3281-42F0-9E3D-DCF6B6A3BA07}"/>
          </ac:spMkLst>
        </pc:spChg>
        <pc:spChg chg="del">
          <ac:chgData name="Aurelien Domont" userId="6da7715ce44349b3" providerId="LiveId" clId="{9689C7A7-0C7F-47C6-AB86-2D84D75E0147}" dt="2022-11-01T00:08:43.998" v="1131" actId="478"/>
          <ac:spMkLst>
            <pc:docMk/>
            <pc:sldMk cId="3394476268" sldId="2268"/>
            <ac:spMk id="62" creationId="{B24BB676-FDCB-46DE-A580-B04F9193D736}"/>
          </ac:spMkLst>
        </pc:spChg>
        <pc:spChg chg="del">
          <ac:chgData name="Aurelien Domont" userId="6da7715ce44349b3" providerId="LiveId" clId="{9689C7A7-0C7F-47C6-AB86-2D84D75E0147}" dt="2022-11-01T00:08:43.998" v="1131" actId="478"/>
          <ac:spMkLst>
            <pc:docMk/>
            <pc:sldMk cId="3394476268" sldId="2268"/>
            <ac:spMk id="63" creationId="{BE93EF03-424F-4C8C-8E9B-3B7101B0632F}"/>
          </ac:spMkLst>
        </pc:spChg>
        <pc:spChg chg="del">
          <ac:chgData name="Aurelien Domont" userId="6da7715ce44349b3" providerId="LiveId" clId="{9689C7A7-0C7F-47C6-AB86-2D84D75E0147}" dt="2022-11-01T00:08:43.998" v="1131" actId="478"/>
          <ac:spMkLst>
            <pc:docMk/>
            <pc:sldMk cId="3394476268" sldId="2268"/>
            <ac:spMk id="64" creationId="{98FCC64D-DC7C-493D-9174-F3D4AA26D031}"/>
          </ac:spMkLst>
        </pc:spChg>
        <pc:spChg chg="del">
          <ac:chgData name="Aurelien Domont" userId="6da7715ce44349b3" providerId="LiveId" clId="{9689C7A7-0C7F-47C6-AB86-2D84D75E0147}" dt="2022-11-01T00:08:43.998" v="1131" actId="478"/>
          <ac:spMkLst>
            <pc:docMk/>
            <pc:sldMk cId="3394476268" sldId="2268"/>
            <ac:spMk id="65" creationId="{2DF91A00-00B2-4F8A-B4CE-AFC2BBD8D28D}"/>
          </ac:spMkLst>
        </pc:spChg>
        <pc:spChg chg="mod">
          <ac:chgData name="Aurelien Domont" userId="6da7715ce44349b3" providerId="LiveId" clId="{9689C7A7-0C7F-47C6-AB86-2D84D75E0147}" dt="2022-11-01T00:09:25.390" v="1142" actId="207"/>
          <ac:spMkLst>
            <pc:docMk/>
            <pc:sldMk cId="3394476268" sldId="2268"/>
            <ac:spMk id="96" creationId="{C6176997-2C40-4461-B178-9AF06DC7F40E}"/>
          </ac:spMkLst>
        </pc:spChg>
        <pc:spChg chg="mod">
          <ac:chgData name="Aurelien Domont" userId="6da7715ce44349b3" providerId="LiveId" clId="{9689C7A7-0C7F-47C6-AB86-2D84D75E0147}" dt="2022-11-01T00:09:25.390" v="1142" actId="207"/>
          <ac:spMkLst>
            <pc:docMk/>
            <pc:sldMk cId="3394476268" sldId="2268"/>
            <ac:spMk id="99" creationId="{2DB93F9E-B1C9-4A41-8709-419FF2D61EF5}"/>
          </ac:spMkLst>
        </pc:spChg>
        <pc:spChg chg="mod">
          <ac:chgData name="Aurelien Domont" userId="6da7715ce44349b3" providerId="LiveId" clId="{9689C7A7-0C7F-47C6-AB86-2D84D75E0147}" dt="2022-11-01T00:09:25.390" v="1142" actId="207"/>
          <ac:spMkLst>
            <pc:docMk/>
            <pc:sldMk cId="3394476268" sldId="2268"/>
            <ac:spMk id="104" creationId="{2ABE6662-C4E5-435A-9FBA-A82576213985}"/>
          </ac:spMkLst>
        </pc:spChg>
      </pc:sldChg>
      <pc:sldChg chg="addSp delSp modSp add mod">
        <pc:chgData name="Aurelien Domont" userId="6da7715ce44349b3" providerId="LiveId" clId="{9689C7A7-0C7F-47C6-AB86-2D84D75E0147}" dt="2022-11-01T00:09:31.622" v="1143" actId="207"/>
        <pc:sldMkLst>
          <pc:docMk/>
          <pc:sldMk cId="2046597082" sldId="2269"/>
        </pc:sldMkLst>
        <pc:spChg chg="add mod">
          <ac:chgData name="Aurelien Domont" userId="6da7715ce44349b3" providerId="LiveId" clId="{9689C7A7-0C7F-47C6-AB86-2D84D75E0147}" dt="2022-11-01T00:08:48.158" v="1134"/>
          <ac:spMkLst>
            <pc:docMk/>
            <pc:sldMk cId="2046597082" sldId="2269"/>
            <ac:spMk id="3" creationId="{0FE56579-8ED7-429C-CD57-E009EEA8AA06}"/>
          </ac:spMkLst>
        </pc:spChg>
        <pc:spChg chg="add mod">
          <ac:chgData name="Aurelien Domont" userId="6da7715ce44349b3" providerId="LiveId" clId="{9689C7A7-0C7F-47C6-AB86-2D84D75E0147}" dt="2022-11-01T00:08:48.158" v="1134"/>
          <ac:spMkLst>
            <pc:docMk/>
            <pc:sldMk cId="2046597082" sldId="2269"/>
            <ac:spMk id="4" creationId="{2003E541-159B-5172-BDAF-AB18A87973CD}"/>
          </ac:spMkLst>
        </pc:spChg>
        <pc:spChg chg="add mod">
          <ac:chgData name="Aurelien Domont" userId="6da7715ce44349b3" providerId="LiveId" clId="{9689C7A7-0C7F-47C6-AB86-2D84D75E0147}" dt="2022-11-01T00:08:48.158" v="1134"/>
          <ac:spMkLst>
            <pc:docMk/>
            <pc:sldMk cId="2046597082" sldId="2269"/>
            <ac:spMk id="5" creationId="{5552BF84-9257-417D-1597-1C16B91D86E9}"/>
          </ac:spMkLst>
        </pc:spChg>
        <pc:spChg chg="add mod">
          <ac:chgData name="Aurelien Domont" userId="6da7715ce44349b3" providerId="LiveId" clId="{9689C7A7-0C7F-47C6-AB86-2D84D75E0147}" dt="2022-11-01T00:08:48.158" v="1134"/>
          <ac:spMkLst>
            <pc:docMk/>
            <pc:sldMk cId="2046597082" sldId="2269"/>
            <ac:spMk id="6" creationId="{47491CC4-FB43-DB7E-A05A-09A018E131AF}"/>
          </ac:spMkLst>
        </pc:spChg>
        <pc:spChg chg="add mod">
          <ac:chgData name="Aurelien Domont" userId="6da7715ce44349b3" providerId="LiveId" clId="{9689C7A7-0C7F-47C6-AB86-2D84D75E0147}" dt="2022-11-01T00:08:48.158" v="1134"/>
          <ac:spMkLst>
            <pc:docMk/>
            <pc:sldMk cId="2046597082" sldId="2269"/>
            <ac:spMk id="7" creationId="{B4C0943C-3D30-F808-F495-3BB4C861321C}"/>
          </ac:spMkLst>
        </pc:spChg>
        <pc:spChg chg="add mod">
          <ac:chgData name="Aurelien Domont" userId="6da7715ce44349b3" providerId="LiveId" clId="{9689C7A7-0C7F-47C6-AB86-2D84D75E0147}" dt="2022-11-01T00:08:48.158" v="1134"/>
          <ac:spMkLst>
            <pc:docMk/>
            <pc:sldMk cId="2046597082" sldId="2269"/>
            <ac:spMk id="8" creationId="{7291BDBB-0BCB-2A40-36C4-A8E0776F6007}"/>
          </ac:spMkLst>
        </pc:spChg>
        <pc:spChg chg="del">
          <ac:chgData name="Aurelien Domont" userId="6da7715ce44349b3" providerId="LiveId" clId="{9689C7A7-0C7F-47C6-AB86-2D84D75E0147}" dt="2022-11-01T00:08:47.997" v="1133" actId="478"/>
          <ac:spMkLst>
            <pc:docMk/>
            <pc:sldMk cId="2046597082" sldId="2269"/>
            <ac:spMk id="60" creationId="{D7FE79AC-8102-42A4-85B2-BA3C025F66A2}"/>
          </ac:spMkLst>
        </pc:spChg>
        <pc:spChg chg="del">
          <ac:chgData name="Aurelien Domont" userId="6da7715ce44349b3" providerId="LiveId" clId="{9689C7A7-0C7F-47C6-AB86-2D84D75E0147}" dt="2022-11-01T00:08:47.997" v="1133" actId="478"/>
          <ac:spMkLst>
            <pc:docMk/>
            <pc:sldMk cId="2046597082" sldId="2269"/>
            <ac:spMk id="61" creationId="{CFCE2A13-3281-42F0-9E3D-DCF6B6A3BA07}"/>
          </ac:spMkLst>
        </pc:spChg>
        <pc:spChg chg="del">
          <ac:chgData name="Aurelien Domont" userId="6da7715ce44349b3" providerId="LiveId" clId="{9689C7A7-0C7F-47C6-AB86-2D84D75E0147}" dt="2022-11-01T00:08:47.997" v="1133" actId="478"/>
          <ac:spMkLst>
            <pc:docMk/>
            <pc:sldMk cId="2046597082" sldId="2269"/>
            <ac:spMk id="62" creationId="{B24BB676-FDCB-46DE-A580-B04F9193D736}"/>
          </ac:spMkLst>
        </pc:spChg>
        <pc:spChg chg="del">
          <ac:chgData name="Aurelien Domont" userId="6da7715ce44349b3" providerId="LiveId" clId="{9689C7A7-0C7F-47C6-AB86-2D84D75E0147}" dt="2022-11-01T00:08:47.997" v="1133" actId="478"/>
          <ac:spMkLst>
            <pc:docMk/>
            <pc:sldMk cId="2046597082" sldId="2269"/>
            <ac:spMk id="63" creationId="{BE93EF03-424F-4C8C-8E9B-3B7101B0632F}"/>
          </ac:spMkLst>
        </pc:spChg>
        <pc:spChg chg="del">
          <ac:chgData name="Aurelien Domont" userId="6da7715ce44349b3" providerId="LiveId" clId="{9689C7A7-0C7F-47C6-AB86-2D84D75E0147}" dt="2022-11-01T00:08:47.997" v="1133" actId="478"/>
          <ac:spMkLst>
            <pc:docMk/>
            <pc:sldMk cId="2046597082" sldId="2269"/>
            <ac:spMk id="64" creationId="{98FCC64D-DC7C-493D-9174-F3D4AA26D031}"/>
          </ac:spMkLst>
        </pc:spChg>
        <pc:spChg chg="del">
          <ac:chgData name="Aurelien Domont" userId="6da7715ce44349b3" providerId="LiveId" clId="{9689C7A7-0C7F-47C6-AB86-2D84D75E0147}" dt="2022-11-01T00:08:47.997" v="1133" actId="478"/>
          <ac:spMkLst>
            <pc:docMk/>
            <pc:sldMk cId="2046597082" sldId="2269"/>
            <ac:spMk id="65" creationId="{2DF91A00-00B2-4F8A-B4CE-AFC2BBD8D28D}"/>
          </ac:spMkLst>
        </pc:spChg>
        <pc:spChg chg="mod">
          <ac:chgData name="Aurelien Domont" userId="6da7715ce44349b3" providerId="LiveId" clId="{9689C7A7-0C7F-47C6-AB86-2D84D75E0147}" dt="2022-11-01T00:09:31.622" v="1143" actId="207"/>
          <ac:spMkLst>
            <pc:docMk/>
            <pc:sldMk cId="2046597082" sldId="2269"/>
            <ac:spMk id="96" creationId="{C6176997-2C40-4461-B178-9AF06DC7F40E}"/>
          </ac:spMkLst>
        </pc:spChg>
        <pc:spChg chg="mod">
          <ac:chgData name="Aurelien Domont" userId="6da7715ce44349b3" providerId="LiveId" clId="{9689C7A7-0C7F-47C6-AB86-2D84D75E0147}" dt="2022-11-01T00:09:31.622" v="1143" actId="207"/>
          <ac:spMkLst>
            <pc:docMk/>
            <pc:sldMk cId="2046597082" sldId="2269"/>
            <ac:spMk id="99" creationId="{2DB93F9E-B1C9-4A41-8709-419FF2D61EF5}"/>
          </ac:spMkLst>
        </pc:spChg>
        <pc:spChg chg="mod">
          <ac:chgData name="Aurelien Domont" userId="6da7715ce44349b3" providerId="LiveId" clId="{9689C7A7-0C7F-47C6-AB86-2D84D75E0147}" dt="2022-11-01T00:09:31.622" v="1143" actId="207"/>
          <ac:spMkLst>
            <pc:docMk/>
            <pc:sldMk cId="2046597082" sldId="2269"/>
            <ac:spMk id="104" creationId="{2ABE6662-C4E5-435A-9FBA-A82576213985}"/>
          </ac:spMkLst>
        </pc:spChg>
      </pc:sldChg>
      <pc:sldChg chg="addSp delSp modSp add mod">
        <pc:chgData name="Aurelien Domont" userId="6da7715ce44349b3" providerId="LiveId" clId="{9689C7A7-0C7F-47C6-AB86-2D84D75E0147}" dt="2022-11-01T00:09:37.307" v="1144" actId="207"/>
        <pc:sldMkLst>
          <pc:docMk/>
          <pc:sldMk cId="2892163911" sldId="2270"/>
        </pc:sldMkLst>
        <pc:spChg chg="add mod">
          <ac:chgData name="Aurelien Domont" userId="6da7715ce44349b3" providerId="LiveId" clId="{9689C7A7-0C7F-47C6-AB86-2D84D75E0147}" dt="2022-11-01T00:08:51.758" v="1136"/>
          <ac:spMkLst>
            <pc:docMk/>
            <pc:sldMk cId="2892163911" sldId="2270"/>
            <ac:spMk id="3" creationId="{28ABFF90-CA61-D219-1450-B3F3BB32E5C4}"/>
          </ac:spMkLst>
        </pc:spChg>
        <pc:spChg chg="add mod">
          <ac:chgData name="Aurelien Domont" userId="6da7715ce44349b3" providerId="LiveId" clId="{9689C7A7-0C7F-47C6-AB86-2D84D75E0147}" dt="2022-11-01T00:08:51.758" v="1136"/>
          <ac:spMkLst>
            <pc:docMk/>
            <pc:sldMk cId="2892163911" sldId="2270"/>
            <ac:spMk id="4" creationId="{A931A8FE-CD4F-3E33-AFD4-16F199163683}"/>
          </ac:spMkLst>
        </pc:spChg>
        <pc:spChg chg="add mod">
          <ac:chgData name="Aurelien Domont" userId="6da7715ce44349b3" providerId="LiveId" clId="{9689C7A7-0C7F-47C6-AB86-2D84D75E0147}" dt="2022-11-01T00:08:51.758" v="1136"/>
          <ac:spMkLst>
            <pc:docMk/>
            <pc:sldMk cId="2892163911" sldId="2270"/>
            <ac:spMk id="5" creationId="{7F2D14F3-9FA7-30BF-DEC9-F9D48018881E}"/>
          </ac:spMkLst>
        </pc:spChg>
        <pc:spChg chg="add mod">
          <ac:chgData name="Aurelien Domont" userId="6da7715ce44349b3" providerId="LiveId" clId="{9689C7A7-0C7F-47C6-AB86-2D84D75E0147}" dt="2022-11-01T00:08:51.758" v="1136"/>
          <ac:spMkLst>
            <pc:docMk/>
            <pc:sldMk cId="2892163911" sldId="2270"/>
            <ac:spMk id="6" creationId="{FDDCD640-0D5B-C692-5687-C0BDB76174D7}"/>
          </ac:spMkLst>
        </pc:spChg>
        <pc:spChg chg="add mod">
          <ac:chgData name="Aurelien Domont" userId="6da7715ce44349b3" providerId="LiveId" clId="{9689C7A7-0C7F-47C6-AB86-2D84D75E0147}" dt="2022-11-01T00:08:51.758" v="1136"/>
          <ac:spMkLst>
            <pc:docMk/>
            <pc:sldMk cId="2892163911" sldId="2270"/>
            <ac:spMk id="7" creationId="{EAA67DEA-E889-A979-B2A8-D84F232548EF}"/>
          </ac:spMkLst>
        </pc:spChg>
        <pc:spChg chg="add mod">
          <ac:chgData name="Aurelien Domont" userId="6da7715ce44349b3" providerId="LiveId" clId="{9689C7A7-0C7F-47C6-AB86-2D84D75E0147}" dt="2022-11-01T00:08:51.758" v="1136"/>
          <ac:spMkLst>
            <pc:docMk/>
            <pc:sldMk cId="2892163911" sldId="2270"/>
            <ac:spMk id="8" creationId="{653150A0-EBDB-6780-F758-008AB94B3ACE}"/>
          </ac:spMkLst>
        </pc:spChg>
        <pc:spChg chg="del">
          <ac:chgData name="Aurelien Domont" userId="6da7715ce44349b3" providerId="LiveId" clId="{9689C7A7-0C7F-47C6-AB86-2D84D75E0147}" dt="2022-11-01T00:08:51.584" v="1135" actId="478"/>
          <ac:spMkLst>
            <pc:docMk/>
            <pc:sldMk cId="2892163911" sldId="2270"/>
            <ac:spMk id="60" creationId="{D7FE79AC-8102-42A4-85B2-BA3C025F66A2}"/>
          </ac:spMkLst>
        </pc:spChg>
        <pc:spChg chg="del">
          <ac:chgData name="Aurelien Domont" userId="6da7715ce44349b3" providerId="LiveId" clId="{9689C7A7-0C7F-47C6-AB86-2D84D75E0147}" dt="2022-11-01T00:08:51.584" v="1135" actId="478"/>
          <ac:spMkLst>
            <pc:docMk/>
            <pc:sldMk cId="2892163911" sldId="2270"/>
            <ac:spMk id="61" creationId="{CFCE2A13-3281-42F0-9E3D-DCF6B6A3BA07}"/>
          </ac:spMkLst>
        </pc:spChg>
        <pc:spChg chg="del">
          <ac:chgData name="Aurelien Domont" userId="6da7715ce44349b3" providerId="LiveId" clId="{9689C7A7-0C7F-47C6-AB86-2D84D75E0147}" dt="2022-11-01T00:08:51.584" v="1135" actId="478"/>
          <ac:spMkLst>
            <pc:docMk/>
            <pc:sldMk cId="2892163911" sldId="2270"/>
            <ac:spMk id="62" creationId="{B24BB676-FDCB-46DE-A580-B04F9193D736}"/>
          </ac:spMkLst>
        </pc:spChg>
        <pc:spChg chg="del">
          <ac:chgData name="Aurelien Domont" userId="6da7715ce44349b3" providerId="LiveId" clId="{9689C7A7-0C7F-47C6-AB86-2D84D75E0147}" dt="2022-11-01T00:08:51.584" v="1135" actId="478"/>
          <ac:spMkLst>
            <pc:docMk/>
            <pc:sldMk cId="2892163911" sldId="2270"/>
            <ac:spMk id="63" creationId="{BE93EF03-424F-4C8C-8E9B-3B7101B0632F}"/>
          </ac:spMkLst>
        </pc:spChg>
        <pc:spChg chg="del">
          <ac:chgData name="Aurelien Domont" userId="6da7715ce44349b3" providerId="LiveId" clId="{9689C7A7-0C7F-47C6-AB86-2D84D75E0147}" dt="2022-11-01T00:08:51.584" v="1135" actId="478"/>
          <ac:spMkLst>
            <pc:docMk/>
            <pc:sldMk cId="2892163911" sldId="2270"/>
            <ac:spMk id="64" creationId="{98FCC64D-DC7C-493D-9174-F3D4AA26D031}"/>
          </ac:spMkLst>
        </pc:spChg>
        <pc:spChg chg="del">
          <ac:chgData name="Aurelien Domont" userId="6da7715ce44349b3" providerId="LiveId" clId="{9689C7A7-0C7F-47C6-AB86-2D84D75E0147}" dt="2022-11-01T00:08:51.584" v="1135" actId="478"/>
          <ac:spMkLst>
            <pc:docMk/>
            <pc:sldMk cId="2892163911" sldId="2270"/>
            <ac:spMk id="65" creationId="{2DF91A00-00B2-4F8A-B4CE-AFC2BBD8D28D}"/>
          </ac:spMkLst>
        </pc:spChg>
        <pc:spChg chg="mod">
          <ac:chgData name="Aurelien Domont" userId="6da7715ce44349b3" providerId="LiveId" clId="{9689C7A7-0C7F-47C6-AB86-2D84D75E0147}" dt="2022-11-01T00:09:37.307" v="1144" actId="207"/>
          <ac:spMkLst>
            <pc:docMk/>
            <pc:sldMk cId="2892163911" sldId="2270"/>
            <ac:spMk id="96" creationId="{C6176997-2C40-4461-B178-9AF06DC7F40E}"/>
          </ac:spMkLst>
        </pc:spChg>
        <pc:spChg chg="mod">
          <ac:chgData name="Aurelien Domont" userId="6da7715ce44349b3" providerId="LiveId" clId="{9689C7A7-0C7F-47C6-AB86-2D84D75E0147}" dt="2022-11-01T00:09:37.307" v="1144" actId="207"/>
          <ac:spMkLst>
            <pc:docMk/>
            <pc:sldMk cId="2892163911" sldId="2270"/>
            <ac:spMk id="99" creationId="{2DB93F9E-B1C9-4A41-8709-419FF2D61EF5}"/>
          </ac:spMkLst>
        </pc:spChg>
        <pc:spChg chg="mod">
          <ac:chgData name="Aurelien Domont" userId="6da7715ce44349b3" providerId="LiveId" clId="{9689C7A7-0C7F-47C6-AB86-2D84D75E0147}" dt="2022-11-01T00:09:37.307" v="1144" actId="207"/>
          <ac:spMkLst>
            <pc:docMk/>
            <pc:sldMk cId="2892163911" sldId="2270"/>
            <ac:spMk id="101" creationId="{F5340496-77D2-489A-9CC9-A683CD7AEB5C}"/>
          </ac:spMkLst>
        </pc:spChg>
        <pc:spChg chg="mod">
          <ac:chgData name="Aurelien Domont" userId="6da7715ce44349b3" providerId="LiveId" clId="{9689C7A7-0C7F-47C6-AB86-2D84D75E0147}" dt="2022-11-01T00:09:37.307" v="1144" actId="207"/>
          <ac:spMkLst>
            <pc:docMk/>
            <pc:sldMk cId="2892163911" sldId="2270"/>
            <ac:spMk id="104" creationId="{2ABE6662-C4E5-435A-9FBA-A82576213985}"/>
          </ac:spMkLst>
        </pc:spChg>
      </pc:sldChg>
      <pc:sldChg chg="addSp delSp modSp mod">
        <pc:chgData name="Aurelien Domont" userId="6da7715ce44349b3" providerId="LiveId" clId="{9689C7A7-0C7F-47C6-AB86-2D84D75E0147}" dt="2022-11-01T23:42:46.186" v="3433"/>
        <pc:sldMkLst>
          <pc:docMk/>
          <pc:sldMk cId="2233641397" sldId="2366"/>
        </pc:sldMkLst>
        <pc:spChg chg="del">
          <ac:chgData name="Aurelien Domont" userId="6da7715ce44349b3" providerId="LiveId" clId="{9689C7A7-0C7F-47C6-AB86-2D84D75E0147}" dt="2022-10-31T23:15:27.018" v="43" actId="478"/>
          <ac:spMkLst>
            <pc:docMk/>
            <pc:sldMk cId="2233641397" sldId="2366"/>
            <ac:spMk id="2" creationId="{634C2493-B0CB-E3BC-B762-0AC0CA1CCA9E}"/>
          </ac:spMkLst>
        </pc:spChg>
        <pc:spChg chg="add mod">
          <ac:chgData name="Aurelien Domont" userId="6da7715ce44349b3" providerId="LiveId" clId="{9689C7A7-0C7F-47C6-AB86-2D84D75E0147}" dt="2022-11-01T23:42:46.186" v="3433"/>
          <ac:spMkLst>
            <pc:docMk/>
            <pc:sldMk cId="2233641397" sldId="2366"/>
            <ac:spMk id="2" creationId="{6584EE86-E4E1-232E-0003-43603CEAAF75}"/>
          </ac:spMkLst>
        </pc:spChg>
        <pc:spChg chg="add mod">
          <ac:chgData name="Aurelien Domont" userId="6da7715ce44349b3" providerId="LiveId" clId="{9689C7A7-0C7F-47C6-AB86-2D84D75E0147}" dt="2022-11-01T23:42:46.186" v="3433"/>
          <ac:spMkLst>
            <pc:docMk/>
            <pc:sldMk cId="2233641397" sldId="2366"/>
            <ac:spMk id="4" creationId="{274FD033-C6AF-EF1F-90BB-83ED4BB365E7}"/>
          </ac:spMkLst>
        </pc:spChg>
        <pc:spChg chg="del">
          <ac:chgData name="Aurelien Domont" userId="6da7715ce44349b3" providerId="LiveId" clId="{9689C7A7-0C7F-47C6-AB86-2D84D75E0147}" dt="2022-10-31T23:15:27.018" v="43" actId="478"/>
          <ac:spMkLst>
            <pc:docMk/>
            <pc:sldMk cId="2233641397" sldId="2366"/>
            <ac:spMk id="4" creationId="{9A971A6B-3191-1AF5-ECCD-2F51AB8816F7}"/>
          </ac:spMkLst>
        </pc:spChg>
        <pc:spChg chg="del">
          <ac:chgData name="Aurelien Domont" userId="6da7715ce44349b3" providerId="LiveId" clId="{9689C7A7-0C7F-47C6-AB86-2D84D75E0147}" dt="2022-10-31T23:15:27.018" v="43" actId="478"/>
          <ac:spMkLst>
            <pc:docMk/>
            <pc:sldMk cId="2233641397" sldId="2366"/>
            <ac:spMk id="5" creationId="{C05AAB5D-D969-19EC-99C2-F607C8A9E70C}"/>
          </ac:spMkLst>
        </pc:spChg>
        <pc:spChg chg="del">
          <ac:chgData name="Aurelien Domont" userId="6da7715ce44349b3" providerId="LiveId" clId="{9689C7A7-0C7F-47C6-AB86-2D84D75E0147}" dt="2022-10-31T23:15:27.018" v="43" actId="478"/>
          <ac:spMkLst>
            <pc:docMk/>
            <pc:sldMk cId="2233641397" sldId="2366"/>
            <ac:spMk id="7" creationId="{35474DBB-EED9-2449-D0C6-AB3DE92DD29F}"/>
          </ac:spMkLst>
        </pc:spChg>
        <pc:spChg chg="del">
          <ac:chgData name="Aurelien Domont" userId="6da7715ce44349b3" providerId="LiveId" clId="{9689C7A7-0C7F-47C6-AB86-2D84D75E0147}" dt="2022-10-31T23:15:27.018" v="43" actId="478"/>
          <ac:spMkLst>
            <pc:docMk/>
            <pc:sldMk cId="2233641397" sldId="2366"/>
            <ac:spMk id="8" creationId="{304E2F29-437F-D4C3-EE32-AD5C3804BA7D}"/>
          </ac:spMkLst>
        </pc:spChg>
        <pc:spChg chg="del">
          <ac:chgData name="Aurelien Domont" userId="6da7715ce44349b3" providerId="LiveId" clId="{9689C7A7-0C7F-47C6-AB86-2D84D75E0147}" dt="2022-10-31T23:15:27.018" v="43" actId="478"/>
          <ac:spMkLst>
            <pc:docMk/>
            <pc:sldMk cId="2233641397" sldId="2366"/>
            <ac:spMk id="9" creationId="{87F03373-E41B-2E36-ECAF-3BCB7D1EFA03}"/>
          </ac:spMkLst>
        </pc:spChg>
        <pc:spChg chg="del">
          <ac:chgData name="Aurelien Domont" userId="6da7715ce44349b3" providerId="LiveId" clId="{9689C7A7-0C7F-47C6-AB86-2D84D75E0147}" dt="2022-10-31T23:15:27.018" v="43" actId="478"/>
          <ac:spMkLst>
            <pc:docMk/>
            <pc:sldMk cId="2233641397" sldId="2366"/>
            <ac:spMk id="11" creationId="{9FE74E8D-C15B-D15A-F63F-F9AED6D1DB30}"/>
          </ac:spMkLst>
        </pc:spChg>
        <pc:spChg chg="del">
          <ac:chgData name="Aurelien Domont" userId="6da7715ce44349b3" providerId="LiveId" clId="{9689C7A7-0C7F-47C6-AB86-2D84D75E0147}" dt="2022-10-31T23:15:27.018" v="43" actId="478"/>
          <ac:spMkLst>
            <pc:docMk/>
            <pc:sldMk cId="2233641397" sldId="2366"/>
            <ac:spMk id="12" creationId="{C6451798-B116-E732-1271-5A69331D3F80}"/>
          </ac:spMkLst>
        </pc:spChg>
        <pc:spChg chg="add mod">
          <ac:chgData name="Aurelien Domont" userId="6da7715ce44349b3" providerId="LiveId" clId="{9689C7A7-0C7F-47C6-AB86-2D84D75E0147}" dt="2022-10-31T23:15:36.803" v="44"/>
          <ac:spMkLst>
            <pc:docMk/>
            <pc:sldMk cId="2233641397" sldId="2366"/>
            <ac:spMk id="14" creationId="{21EB86DD-D107-8FA4-9845-7E0930452214}"/>
          </ac:spMkLst>
        </pc:spChg>
        <pc:spChg chg="mod">
          <ac:chgData name="Aurelien Domont" userId="6da7715ce44349b3" providerId="LiveId" clId="{9689C7A7-0C7F-47C6-AB86-2D84D75E0147}" dt="2022-10-31T23:15:20.345" v="42" actId="20577"/>
          <ac:spMkLst>
            <pc:docMk/>
            <pc:sldMk cId="2233641397" sldId="2366"/>
            <ac:spMk id="16" creationId="{6C2BB713-9637-4B9B-938F-E9768876782A}"/>
          </ac:spMkLst>
        </pc:spChg>
        <pc:spChg chg="add mod">
          <ac:chgData name="Aurelien Domont" userId="6da7715ce44349b3" providerId="LiveId" clId="{9689C7A7-0C7F-47C6-AB86-2D84D75E0147}" dt="2022-10-31T23:15:36.803" v="44"/>
          <ac:spMkLst>
            <pc:docMk/>
            <pc:sldMk cId="2233641397" sldId="2366"/>
            <ac:spMk id="17" creationId="{2BC409BB-80EE-4E8A-A892-10A9EF09A9E1}"/>
          </ac:spMkLst>
        </pc:spChg>
        <pc:spChg chg="add mod">
          <ac:chgData name="Aurelien Domont" userId="6da7715ce44349b3" providerId="LiveId" clId="{9689C7A7-0C7F-47C6-AB86-2D84D75E0147}" dt="2022-10-31T23:15:39.544" v="45" actId="207"/>
          <ac:spMkLst>
            <pc:docMk/>
            <pc:sldMk cId="2233641397" sldId="2366"/>
            <ac:spMk id="18" creationId="{D2CC5305-9AD0-01D5-995C-FF30EE8C78D7}"/>
          </ac:spMkLst>
        </pc:spChg>
        <pc:spChg chg="add mod">
          <ac:chgData name="Aurelien Domont" userId="6da7715ce44349b3" providerId="LiveId" clId="{9689C7A7-0C7F-47C6-AB86-2D84D75E0147}" dt="2022-10-31T23:15:36.803" v="44"/>
          <ac:spMkLst>
            <pc:docMk/>
            <pc:sldMk cId="2233641397" sldId="2366"/>
            <ac:spMk id="19" creationId="{B40CE26A-9246-0BE3-15C8-645554F7EBA4}"/>
          </ac:spMkLst>
        </pc:spChg>
        <pc:spChg chg="add mod">
          <ac:chgData name="Aurelien Domont" userId="6da7715ce44349b3" providerId="LiveId" clId="{9689C7A7-0C7F-47C6-AB86-2D84D75E0147}" dt="2022-10-31T23:15:36.803" v="44"/>
          <ac:spMkLst>
            <pc:docMk/>
            <pc:sldMk cId="2233641397" sldId="2366"/>
            <ac:spMk id="20" creationId="{2CA5B6FC-BD1F-3979-6604-0E439801DA3B}"/>
          </ac:spMkLst>
        </pc:spChg>
        <pc:spChg chg="add mod">
          <ac:chgData name="Aurelien Domont" userId="6da7715ce44349b3" providerId="LiveId" clId="{9689C7A7-0C7F-47C6-AB86-2D84D75E0147}" dt="2022-10-31T23:15:36.803" v="44"/>
          <ac:spMkLst>
            <pc:docMk/>
            <pc:sldMk cId="2233641397" sldId="2366"/>
            <ac:spMk id="21" creationId="{DD07B1C3-9AB2-DBAC-1731-384291E2F129}"/>
          </ac:spMkLst>
        </pc:spChg>
        <pc:spChg chg="add mod">
          <ac:chgData name="Aurelien Domont" userId="6da7715ce44349b3" providerId="LiveId" clId="{9689C7A7-0C7F-47C6-AB86-2D84D75E0147}" dt="2022-11-01T02:06:24.473" v="1147" actId="20577"/>
          <ac:spMkLst>
            <pc:docMk/>
            <pc:sldMk cId="2233641397" sldId="2366"/>
            <ac:spMk id="28" creationId="{83025740-608C-E49F-0E85-A78BD7F3DDD3}"/>
          </ac:spMkLst>
        </pc:spChg>
        <pc:spChg chg="add mod">
          <ac:chgData name="Aurelien Domont" userId="6da7715ce44349b3" providerId="LiveId" clId="{9689C7A7-0C7F-47C6-AB86-2D84D75E0147}" dt="2022-10-31T23:15:36.803" v="44"/>
          <ac:spMkLst>
            <pc:docMk/>
            <pc:sldMk cId="2233641397" sldId="2366"/>
            <ac:spMk id="29" creationId="{1FB291FC-75AA-D73A-E051-D6B95FC1819F}"/>
          </ac:spMkLst>
        </pc:spChg>
        <pc:spChg chg="add mod">
          <ac:chgData name="Aurelien Domont" userId="6da7715ce44349b3" providerId="LiveId" clId="{9689C7A7-0C7F-47C6-AB86-2D84D75E0147}" dt="2022-10-31T23:15:36.803" v="44"/>
          <ac:spMkLst>
            <pc:docMk/>
            <pc:sldMk cId="2233641397" sldId="2366"/>
            <ac:spMk id="30" creationId="{656C207E-8AB7-5E8A-C25C-539651100FC4}"/>
          </ac:spMkLst>
        </pc:spChg>
        <pc:spChg chg="add del mod">
          <ac:chgData name="Aurelien Domont" userId="6da7715ce44349b3" providerId="LiveId" clId="{9689C7A7-0C7F-47C6-AB86-2D84D75E0147}" dt="2022-11-01T23:42:45.877" v="3432" actId="478"/>
          <ac:spMkLst>
            <pc:docMk/>
            <pc:sldMk cId="2233641397" sldId="2366"/>
            <ac:spMk id="35" creationId="{7758CDCB-3EC2-2649-205A-634E6CD09FD3}"/>
          </ac:spMkLst>
        </pc:spChg>
        <pc:spChg chg="add mod">
          <ac:chgData name="Aurelien Domont" userId="6da7715ce44349b3" providerId="LiveId" clId="{9689C7A7-0C7F-47C6-AB86-2D84D75E0147}" dt="2022-10-31T23:15:36.803" v="44"/>
          <ac:spMkLst>
            <pc:docMk/>
            <pc:sldMk cId="2233641397" sldId="2366"/>
            <ac:spMk id="36" creationId="{96A37023-EB4F-D051-DA3E-C3CFF0599367}"/>
          </ac:spMkLst>
        </pc:spChg>
        <pc:spChg chg="add del mod">
          <ac:chgData name="Aurelien Domont" userId="6da7715ce44349b3" providerId="LiveId" clId="{9689C7A7-0C7F-47C6-AB86-2D84D75E0147}" dt="2022-11-01T23:42:45.877" v="3432" actId="478"/>
          <ac:spMkLst>
            <pc:docMk/>
            <pc:sldMk cId="2233641397" sldId="2366"/>
            <ac:spMk id="37" creationId="{B15EC3E4-C265-C1FD-D742-B35B540F34C8}"/>
          </ac:spMkLst>
        </pc:spChg>
        <pc:picChg chg="add mod">
          <ac:chgData name="Aurelien Domont" userId="6da7715ce44349b3" providerId="LiveId" clId="{9689C7A7-0C7F-47C6-AB86-2D84D75E0147}" dt="2022-10-31T23:15:36.803" v="44"/>
          <ac:picMkLst>
            <pc:docMk/>
            <pc:sldMk cId="2233641397" sldId="2366"/>
            <ac:picMk id="22" creationId="{7590A10C-5C54-2C77-DFAA-52F354E85A16}"/>
          </ac:picMkLst>
        </pc:picChg>
        <pc:picChg chg="add mod">
          <ac:chgData name="Aurelien Domont" userId="6da7715ce44349b3" providerId="LiveId" clId="{9689C7A7-0C7F-47C6-AB86-2D84D75E0147}" dt="2022-10-31T23:15:36.803" v="44"/>
          <ac:picMkLst>
            <pc:docMk/>
            <pc:sldMk cId="2233641397" sldId="2366"/>
            <ac:picMk id="23" creationId="{545393E8-B614-BE1C-CBAC-9FBBBC3862EC}"/>
          </ac:picMkLst>
        </pc:picChg>
        <pc:picChg chg="add mod">
          <ac:chgData name="Aurelien Domont" userId="6da7715ce44349b3" providerId="LiveId" clId="{9689C7A7-0C7F-47C6-AB86-2D84D75E0147}" dt="2022-10-31T23:15:36.803" v="44"/>
          <ac:picMkLst>
            <pc:docMk/>
            <pc:sldMk cId="2233641397" sldId="2366"/>
            <ac:picMk id="24" creationId="{642ABB61-5F1F-B263-D54C-51433EFD5EAC}"/>
          </ac:picMkLst>
        </pc:picChg>
        <pc:picChg chg="add mod">
          <ac:chgData name="Aurelien Domont" userId="6da7715ce44349b3" providerId="LiveId" clId="{9689C7A7-0C7F-47C6-AB86-2D84D75E0147}" dt="2022-10-31T23:15:36.803" v="44"/>
          <ac:picMkLst>
            <pc:docMk/>
            <pc:sldMk cId="2233641397" sldId="2366"/>
            <ac:picMk id="25" creationId="{9B7C6069-E7DA-10D1-3E0D-B1E2196C5CCA}"/>
          </ac:picMkLst>
        </pc:picChg>
        <pc:picChg chg="add mod">
          <ac:chgData name="Aurelien Domont" userId="6da7715ce44349b3" providerId="LiveId" clId="{9689C7A7-0C7F-47C6-AB86-2D84D75E0147}" dt="2022-10-31T23:15:36.803" v="44"/>
          <ac:picMkLst>
            <pc:docMk/>
            <pc:sldMk cId="2233641397" sldId="2366"/>
            <ac:picMk id="26" creationId="{3DD4ECE7-B702-6ACA-8B73-12952D3B7B3B}"/>
          </ac:picMkLst>
        </pc:picChg>
        <pc:picChg chg="add mod">
          <ac:chgData name="Aurelien Domont" userId="6da7715ce44349b3" providerId="LiveId" clId="{9689C7A7-0C7F-47C6-AB86-2D84D75E0147}" dt="2022-10-31T23:15:36.803" v="44"/>
          <ac:picMkLst>
            <pc:docMk/>
            <pc:sldMk cId="2233641397" sldId="2366"/>
            <ac:picMk id="27" creationId="{E69FEC73-8388-4B04-6B72-9C7A8F7D9662}"/>
          </ac:picMkLst>
        </pc:picChg>
        <pc:picChg chg="del">
          <ac:chgData name="Aurelien Domont" userId="6da7715ce44349b3" providerId="LiveId" clId="{9689C7A7-0C7F-47C6-AB86-2D84D75E0147}" dt="2022-10-31T23:15:27.018" v="43" actId="478"/>
          <ac:picMkLst>
            <pc:docMk/>
            <pc:sldMk cId="2233641397" sldId="2366"/>
            <ac:picMk id="31" creationId="{FFC12117-205C-AA8B-B225-078D1474A309}"/>
          </ac:picMkLst>
        </pc:picChg>
        <pc:picChg chg="del">
          <ac:chgData name="Aurelien Domont" userId="6da7715ce44349b3" providerId="LiveId" clId="{9689C7A7-0C7F-47C6-AB86-2D84D75E0147}" dt="2022-10-31T23:15:27.018" v="43" actId="478"/>
          <ac:picMkLst>
            <pc:docMk/>
            <pc:sldMk cId="2233641397" sldId="2366"/>
            <ac:picMk id="32" creationId="{3ACEDDDB-86DE-E681-36B9-AC903222D9C8}"/>
          </ac:picMkLst>
        </pc:picChg>
        <pc:picChg chg="del">
          <ac:chgData name="Aurelien Domont" userId="6da7715ce44349b3" providerId="LiveId" clId="{9689C7A7-0C7F-47C6-AB86-2D84D75E0147}" dt="2022-10-31T23:15:27.018" v="43" actId="478"/>
          <ac:picMkLst>
            <pc:docMk/>
            <pc:sldMk cId="2233641397" sldId="2366"/>
            <ac:picMk id="33" creationId="{8D58BF8C-D936-4BCC-FD69-DD0E2D9D6DBF}"/>
          </ac:picMkLst>
        </pc:picChg>
        <pc:picChg chg="del">
          <ac:chgData name="Aurelien Domont" userId="6da7715ce44349b3" providerId="LiveId" clId="{9689C7A7-0C7F-47C6-AB86-2D84D75E0147}" dt="2022-10-31T23:15:27.018" v="43" actId="478"/>
          <ac:picMkLst>
            <pc:docMk/>
            <pc:sldMk cId="2233641397" sldId="2366"/>
            <ac:picMk id="34" creationId="{63E55399-9150-342D-364C-37E577ECAAE4}"/>
          </ac:picMkLst>
        </pc:picChg>
        <pc:cxnChg chg="del">
          <ac:chgData name="Aurelien Domont" userId="6da7715ce44349b3" providerId="LiveId" clId="{9689C7A7-0C7F-47C6-AB86-2D84D75E0147}" dt="2022-10-31T23:15:27.018" v="43" actId="478"/>
          <ac:cxnSpMkLst>
            <pc:docMk/>
            <pc:sldMk cId="2233641397" sldId="2366"/>
            <ac:cxnSpMk id="6" creationId="{228438F6-1A9C-9F53-D7F0-40891DE39251}"/>
          </ac:cxnSpMkLst>
        </pc:cxnChg>
        <pc:cxnChg chg="del">
          <ac:chgData name="Aurelien Domont" userId="6da7715ce44349b3" providerId="LiveId" clId="{9689C7A7-0C7F-47C6-AB86-2D84D75E0147}" dt="2022-10-31T23:15:27.018" v="43" actId="478"/>
          <ac:cxnSpMkLst>
            <pc:docMk/>
            <pc:sldMk cId="2233641397" sldId="2366"/>
            <ac:cxnSpMk id="10" creationId="{7DA3839A-DBA7-1895-3771-6EFA9DE62CCE}"/>
          </ac:cxnSpMkLst>
        </pc:cxnChg>
        <pc:cxnChg chg="del">
          <ac:chgData name="Aurelien Domont" userId="6da7715ce44349b3" providerId="LiveId" clId="{9689C7A7-0C7F-47C6-AB86-2D84D75E0147}" dt="2022-10-31T23:15:27.018" v="43" actId="478"/>
          <ac:cxnSpMkLst>
            <pc:docMk/>
            <pc:sldMk cId="2233641397" sldId="2366"/>
            <ac:cxnSpMk id="15" creationId="{A0AAD5C0-1BF4-A136-8011-5752926BE3E7}"/>
          </ac:cxnSpMkLst>
        </pc:cxnChg>
        <pc:cxnChg chg="add mod">
          <ac:chgData name="Aurelien Domont" userId="6da7715ce44349b3" providerId="LiveId" clId="{9689C7A7-0C7F-47C6-AB86-2D84D75E0147}" dt="2022-10-31T23:15:36.803" v="44"/>
          <ac:cxnSpMkLst>
            <pc:docMk/>
            <pc:sldMk cId="2233641397" sldId="2366"/>
            <ac:cxnSpMk id="38" creationId="{E5B7B65D-D701-C231-BBEB-3210C52FCE81}"/>
          </ac:cxnSpMkLst>
        </pc:cxnChg>
        <pc:cxnChg chg="add mod">
          <ac:chgData name="Aurelien Domont" userId="6da7715ce44349b3" providerId="LiveId" clId="{9689C7A7-0C7F-47C6-AB86-2D84D75E0147}" dt="2022-10-31T23:15:36.803" v="44"/>
          <ac:cxnSpMkLst>
            <pc:docMk/>
            <pc:sldMk cId="2233641397" sldId="2366"/>
            <ac:cxnSpMk id="39" creationId="{580A763F-776C-968F-6E24-FCFB62833F1C}"/>
          </ac:cxnSpMkLst>
        </pc:cxnChg>
        <pc:cxnChg chg="add mod">
          <ac:chgData name="Aurelien Domont" userId="6da7715ce44349b3" providerId="LiveId" clId="{9689C7A7-0C7F-47C6-AB86-2D84D75E0147}" dt="2022-10-31T23:15:36.803" v="44"/>
          <ac:cxnSpMkLst>
            <pc:docMk/>
            <pc:sldMk cId="2233641397" sldId="2366"/>
            <ac:cxnSpMk id="40" creationId="{65914413-74C9-97E1-BC8C-7AB55B4D1986}"/>
          </ac:cxnSpMkLst>
        </pc:cxnChg>
        <pc:cxnChg chg="add mod">
          <ac:chgData name="Aurelien Domont" userId="6da7715ce44349b3" providerId="LiveId" clId="{9689C7A7-0C7F-47C6-AB86-2D84D75E0147}" dt="2022-10-31T23:15:36.803" v="44"/>
          <ac:cxnSpMkLst>
            <pc:docMk/>
            <pc:sldMk cId="2233641397" sldId="2366"/>
            <ac:cxnSpMk id="41" creationId="{C7609A12-F1E3-F5AF-853B-8FDADA1D3BD4}"/>
          </ac:cxnSpMkLst>
        </pc:cxnChg>
        <pc:cxnChg chg="add mod">
          <ac:chgData name="Aurelien Domont" userId="6da7715ce44349b3" providerId="LiveId" clId="{9689C7A7-0C7F-47C6-AB86-2D84D75E0147}" dt="2022-10-31T23:15:36.803" v="44"/>
          <ac:cxnSpMkLst>
            <pc:docMk/>
            <pc:sldMk cId="2233641397" sldId="2366"/>
            <ac:cxnSpMk id="42" creationId="{47B8D9CA-5204-6D0B-65CF-B8B7F5FF5381}"/>
          </ac:cxnSpMkLst>
        </pc:cxnChg>
      </pc:sldChg>
      <pc:sldChg chg="del">
        <pc:chgData name="Aurelien Domont" userId="6da7715ce44349b3" providerId="LiveId" clId="{9689C7A7-0C7F-47C6-AB86-2D84D75E0147}" dt="2022-10-31T23:17:10.678" v="62" actId="47"/>
        <pc:sldMkLst>
          <pc:docMk/>
          <pc:sldMk cId="1405847947" sldId="2367"/>
        </pc:sldMkLst>
      </pc:sldChg>
      <pc:sldChg chg="del">
        <pc:chgData name="Aurelien Domont" userId="6da7715ce44349b3" providerId="LiveId" clId="{9689C7A7-0C7F-47C6-AB86-2D84D75E0147}" dt="2022-10-31T23:19:11.860" v="95" actId="47"/>
        <pc:sldMkLst>
          <pc:docMk/>
          <pc:sldMk cId="983106713" sldId="2380"/>
        </pc:sldMkLst>
      </pc:sldChg>
      <pc:sldChg chg="del">
        <pc:chgData name="Aurelien Domont" userId="6da7715ce44349b3" providerId="LiveId" clId="{9689C7A7-0C7F-47C6-AB86-2D84D75E0147}" dt="2022-10-31T23:19:11.860" v="95" actId="47"/>
        <pc:sldMkLst>
          <pc:docMk/>
          <pc:sldMk cId="2713893628" sldId="2383"/>
        </pc:sldMkLst>
      </pc:sldChg>
      <pc:sldChg chg="del">
        <pc:chgData name="Aurelien Domont" userId="6da7715ce44349b3" providerId="LiveId" clId="{9689C7A7-0C7F-47C6-AB86-2D84D75E0147}" dt="2022-10-31T23:19:11.860" v="95" actId="47"/>
        <pc:sldMkLst>
          <pc:docMk/>
          <pc:sldMk cId="4085534047" sldId="2385"/>
        </pc:sldMkLst>
      </pc:sldChg>
      <pc:sldChg chg="del">
        <pc:chgData name="Aurelien Domont" userId="6da7715ce44349b3" providerId="LiveId" clId="{9689C7A7-0C7F-47C6-AB86-2D84D75E0147}" dt="2022-10-31T23:19:11.860" v="95" actId="47"/>
        <pc:sldMkLst>
          <pc:docMk/>
          <pc:sldMk cId="3091734652" sldId="2388"/>
        </pc:sldMkLst>
      </pc:sldChg>
      <pc:sldChg chg="del">
        <pc:chgData name="Aurelien Domont" userId="6da7715ce44349b3" providerId="LiveId" clId="{9689C7A7-0C7F-47C6-AB86-2D84D75E0147}" dt="2022-10-31T23:17:56.388" v="91" actId="47"/>
        <pc:sldMkLst>
          <pc:docMk/>
          <pc:sldMk cId="1322082221" sldId="2389"/>
        </pc:sldMkLst>
      </pc:sldChg>
      <pc:sldChg chg="del">
        <pc:chgData name="Aurelien Domont" userId="6da7715ce44349b3" providerId="LiveId" clId="{9689C7A7-0C7F-47C6-AB86-2D84D75E0147}" dt="2022-10-31T23:19:11.860" v="95" actId="47"/>
        <pc:sldMkLst>
          <pc:docMk/>
          <pc:sldMk cId="1476795471" sldId="2390"/>
        </pc:sldMkLst>
      </pc:sldChg>
      <pc:sldChg chg="del">
        <pc:chgData name="Aurelien Domont" userId="6da7715ce44349b3" providerId="LiveId" clId="{9689C7A7-0C7F-47C6-AB86-2D84D75E0147}" dt="2022-10-31T23:19:11.860" v="95" actId="47"/>
        <pc:sldMkLst>
          <pc:docMk/>
          <pc:sldMk cId="1098388366" sldId="2391"/>
        </pc:sldMkLst>
      </pc:sldChg>
      <pc:sldChg chg="del">
        <pc:chgData name="Aurelien Domont" userId="6da7715ce44349b3" providerId="LiveId" clId="{9689C7A7-0C7F-47C6-AB86-2D84D75E0147}" dt="2022-10-31T23:19:11.860" v="95" actId="47"/>
        <pc:sldMkLst>
          <pc:docMk/>
          <pc:sldMk cId="3514489075" sldId="2392"/>
        </pc:sldMkLst>
      </pc:sldChg>
      <pc:sldChg chg="del">
        <pc:chgData name="Aurelien Domont" userId="6da7715ce44349b3" providerId="LiveId" clId="{9689C7A7-0C7F-47C6-AB86-2D84D75E0147}" dt="2022-10-31T23:19:11.860" v="95" actId="47"/>
        <pc:sldMkLst>
          <pc:docMk/>
          <pc:sldMk cId="1667582951" sldId="2393"/>
        </pc:sldMkLst>
      </pc:sldChg>
      <pc:sldChg chg="del">
        <pc:chgData name="Aurelien Domont" userId="6da7715ce44349b3" providerId="LiveId" clId="{9689C7A7-0C7F-47C6-AB86-2D84D75E0147}" dt="2022-10-31T23:19:11.860" v="95" actId="47"/>
        <pc:sldMkLst>
          <pc:docMk/>
          <pc:sldMk cId="2999005819" sldId="2394"/>
        </pc:sldMkLst>
      </pc:sldChg>
      <pc:sldChg chg="addSp delSp modSp add mod">
        <pc:chgData name="Aurelien Domont" userId="6da7715ce44349b3" providerId="LiveId" clId="{9689C7A7-0C7F-47C6-AB86-2D84D75E0147}" dt="2022-11-01T23:43:52.301" v="3435"/>
        <pc:sldMkLst>
          <pc:docMk/>
          <pc:sldMk cId="113606793" sldId="2395"/>
        </pc:sldMkLst>
        <pc:spChg chg="add mod ord">
          <ac:chgData name="Aurelien Domont" userId="6da7715ce44349b3" providerId="LiveId" clId="{9689C7A7-0C7F-47C6-AB86-2D84D75E0147}" dt="2022-10-31T23:31:00.324" v="250" actId="1036"/>
          <ac:spMkLst>
            <pc:docMk/>
            <pc:sldMk cId="113606793" sldId="2395"/>
            <ac:spMk id="2" creationId="{547CB403-88D0-99AE-C93F-28EEFD77F877}"/>
          </ac:spMkLst>
        </pc:spChg>
        <pc:spChg chg="add mod">
          <ac:chgData name="Aurelien Domont" userId="6da7715ce44349b3" providerId="LiveId" clId="{9689C7A7-0C7F-47C6-AB86-2D84D75E0147}" dt="2022-11-01T23:43:52.301" v="3435"/>
          <ac:spMkLst>
            <pc:docMk/>
            <pc:sldMk cId="113606793" sldId="2395"/>
            <ac:spMk id="4" creationId="{0EA3FB11-4015-D509-E991-D4468F291CF7}"/>
          </ac:spMkLst>
        </pc:spChg>
        <pc:spChg chg="add mod">
          <ac:chgData name="Aurelien Domont" userId="6da7715ce44349b3" providerId="LiveId" clId="{9689C7A7-0C7F-47C6-AB86-2D84D75E0147}" dt="2022-11-01T23:43:52.301" v="3435"/>
          <ac:spMkLst>
            <pc:docMk/>
            <pc:sldMk cId="113606793" sldId="2395"/>
            <ac:spMk id="5" creationId="{1B867CF1-6445-862E-7BB3-FF4DF484AF4F}"/>
          </ac:spMkLst>
        </pc:spChg>
        <pc:spChg chg="mod">
          <ac:chgData name="Aurelien Domont" userId="6da7715ce44349b3" providerId="LiveId" clId="{9689C7A7-0C7F-47C6-AB86-2D84D75E0147}" dt="2022-10-31T23:15:59.447" v="47"/>
          <ac:spMkLst>
            <pc:docMk/>
            <pc:sldMk cId="113606793" sldId="2395"/>
            <ac:spMk id="16" creationId="{6C2BB713-9637-4B9B-938F-E9768876782A}"/>
          </ac:spMkLst>
        </pc:spChg>
        <pc:spChg chg="mod">
          <ac:chgData name="Aurelien Domont" userId="6da7715ce44349b3" providerId="LiveId" clId="{9689C7A7-0C7F-47C6-AB86-2D84D75E0147}" dt="2022-11-01T02:06:26.685" v="1148" actId="20577"/>
          <ac:spMkLst>
            <pc:docMk/>
            <pc:sldMk cId="113606793" sldId="2395"/>
            <ac:spMk id="28" creationId="{83025740-608C-E49F-0E85-A78BD7F3DDD3}"/>
          </ac:spMkLst>
        </pc:spChg>
        <pc:spChg chg="del mod">
          <ac:chgData name="Aurelien Domont" userId="6da7715ce44349b3" providerId="LiveId" clId="{9689C7A7-0C7F-47C6-AB86-2D84D75E0147}" dt="2022-11-01T23:43:51.766" v="3434" actId="478"/>
          <ac:spMkLst>
            <pc:docMk/>
            <pc:sldMk cId="113606793" sldId="2395"/>
            <ac:spMk id="35" creationId="{7758CDCB-3EC2-2649-205A-634E6CD09FD3}"/>
          </ac:spMkLst>
        </pc:spChg>
        <pc:spChg chg="del">
          <ac:chgData name="Aurelien Domont" userId="6da7715ce44349b3" providerId="LiveId" clId="{9689C7A7-0C7F-47C6-AB86-2D84D75E0147}" dt="2022-11-01T23:43:51.766" v="3434" actId="478"/>
          <ac:spMkLst>
            <pc:docMk/>
            <pc:sldMk cId="113606793" sldId="2395"/>
            <ac:spMk id="37" creationId="{B15EC3E4-C265-C1FD-D742-B35B540F34C8}"/>
          </ac:spMkLst>
        </pc:spChg>
      </pc:sldChg>
      <pc:sldChg chg="addSp delSp modSp add mod">
        <pc:chgData name="Aurelien Domont" userId="6da7715ce44349b3" providerId="LiveId" clId="{9689C7A7-0C7F-47C6-AB86-2D84D75E0147}" dt="2022-11-01T23:44:46.768" v="3449"/>
        <pc:sldMkLst>
          <pc:docMk/>
          <pc:sldMk cId="2837632377" sldId="2396"/>
        </pc:sldMkLst>
        <pc:spChg chg="mod">
          <ac:chgData name="Aurelien Domont" userId="6da7715ce44349b3" providerId="LiveId" clId="{9689C7A7-0C7F-47C6-AB86-2D84D75E0147}" dt="2022-10-31T23:34:43.967" v="398" actId="1035"/>
          <ac:spMkLst>
            <pc:docMk/>
            <pc:sldMk cId="2837632377" sldId="2396"/>
            <ac:spMk id="2" creationId="{547CB403-88D0-99AE-C93F-28EEFD77F877}"/>
          </ac:spMkLst>
        </pc:spChg>
        <pc:spChg chg="add mod">
          <ac:chgData name="Aurelien Domont" userId="6da7715ce44349b3" providerId="LiveId" clId="{9689C7A7-0C7F-47C6-AB86-2D84D75E0147}" dt="2022-11-01T23:44:46.768" v="3449"/>
          <ac:spMkLst>
            <pc:docMk/>
            <pc:sldMk cId="2837632377" sldId="2396"/>
            <ac:spMk id="4" creationId="{9F2E184C-FF12-385D-FD31-0512CF4FD6C0}"/>
          </ac:spMkLst>
        </pc:spChg>
        <pc:spChg chg="add mod">
          <ac:chgData name="Aurelien Domont" userId="6da7715ce44349b3" providerId="LiveId" clId="{9689C7A7-0C7F-47C6-AB86-2D84D75E0147}" dt="2022-11-01T23:44:46.768" v="3449"/>
          <ac:spMkLst>
            <pc:docMk/>
            <pc:sldMk cId="2837632377" sldId="2396"/>
            <ac:spMk id="5" creationId="{8F3C067E-CB95-09EC-3935-5EC582B5A8B3}"/>
          </ac:spMkLst>
        </pc:spChg>
        <pc:spChg chg="del mod">
          <ac:chgData name="Aurelien Domont" userId="6da7715ce44349b3" providerId="LiveId" clId="{9689C7A7-0C7F-47C6-AB86-2D84D75E0147}" dt="2022-11-01T23:44:46.471" v="3448" actId="478"/>
          <ac:spMkLst>
            <pc:docMk/>
            <pc:sldMk cId="2837632377" sldId="2396"/>
            <ac:spMk id="35" creationId="{7758CDCB-3EC2-2649-205A-634E6CD09FD3}"/>
          </ac:spMkLst>
        </pc:spChg>
        <pc:spChg chg="del">
          <ac:chgData name="Aurelien Domont" userId="6da7715ce44349b3" providerId="LiveId" clId="{9689C7A7-0C7F-47C6-AB86-2D84D75E0147}" dt="2022-11-01T23:44:46.471" v="3448" actId="478"/>
          <ac:spMkLst>
            <pc:docMk/>
            <pc:sldMk cId="2837632377" sldId="2396"/>
            <ac:spMk id="37" creationId="{B15EC3E4-C265-C1FD-D742-B35B540F34C8}"/>
          </ac:spMkLst>
        </pc:spChg>
      </pc:sldChg>
      <pc:sldChg chg="addSp delSp modSp add mod">
        <pc:chgData name="Aurelien Domont" userId="6da7715ce44349b3" providerId="LiveId" clId="{9689C7A7-0C7F-47C6-AB86-2D84D75E0147}" dt="2022-11-01T23:45:00.360" v="3451"/>
        <pc:sldMkLst>
          <pc:docMk/>
          <pc:sldMk cId="898007441" sldId="2397"/>
        </pc:sldMkLst>
        <pc:spChg chg="mod">
          <ac:chgData name="Aurelien Domont" userId="6da7715ce44349b3" providerId="LiveId" clId="{9689C7A7-0C7F-47C6-AB86-2D84D75E0147}" dt="2022-10-31T23:34:53.670" v="414" actId="1036"/>
          <ac:spMkLst>
            <pc:docMk/>
            <pc:sldMk cId="898007441" sldId="2397"/>
            <ac:spMk id="2" creationId="{547CB403-88D0-99AE-C93F-28EEFD77F877}"/>
          </ac:spMkLst>
        </pc:spChg>
        <pc:spChg chg="add mod">
          <ac:chgData name="Aurelien Domont" userId="6da7715ce44349b3" providerId="LiveId" clId="{9689C7A7-0C7F-47C6-AB86-2D84D75E0147}" dt="2022-11-01T23:45:00.360" v="3451"/>
          <ac:spMkLst>
            <pc:docMk/>
            <pc:sldMk cId="898007441" sldId="2397"/>
            <ac:spMk id="4" creationId="{2944AFAD-A6E1-F761-EF66-F285F17C4B23}"/>
          </ac:spMkLst>
        </pc:spChg>
        <pc:spChg chg="add mod">
          <ac:chgData name="Aurelien Domont" userId="6da7715ce44349b3" providerId="LiveId" clId="{9689C7A7-0C7F-47C6-AB86-2D84D75E0147}" dt="2022-11-01T23:45:00.360" v="3451"/>
          <ac:spMkLst>
            <pc:docMk/>
            <pc:sldMk cId="898007441" sldId="2397"/>
            <ac:spMk id="5" creationId="{7AAB1DA6-FA2D-D424-6AC8-02D4EDF33CB3}"/>
          </ac:spMkLst>
        </pc:spChg>
        <pc:spChg chg="mod">
          <ac:chgData name="Aurelien Domont" userId="6da7715ce44349b3" providerId="LiveId" clId="{9689C7A7-0C7F-47C6-AB86-2D84D75E0147}" dt="2022-11-01T02:06:54.916" v="1150" actId="20577"/>
          <ac:spMkLst>
            <pc:docMk/>
            <pc:sldMk cId="898007441" sldId="2397"/>
            <ac:spMk id="28" creationId="{83025740-608C-E49F-0E85-A78BD7F3DDD3}"/>
          </ac:spMkLst>
        </pc:spChg>
        <pc:spChg chg="del mod">
          <ac:chgData name="Aurelien Domont" userId="6da7715ce44349b3" providerId="LiveId" clId="{9689C7A7-0C7F-47C6-AB86-2D84D75E0147}" dt="2022-11-01T23:45:00.023" v="3450" actId="478"/>
          <ac:spMkLst>
            <pc:docMk/>
            <pc:sldMk cId="898007441" sldId="2397"/>
            <ac:spMk id="35" creationId="{7758CDCB-3EC2-2649-205A-634E6CD09FD3}"/>
          </ac:spMkLst>
        </pc:spChg>
        <pc:spChg chg="del">
          <ac:chgData name="Aurelien Domont" userId="6da7715ce44349b3" providerId="LiveId" clId="{9689C7A7-0C7F-47C6-AB86-2D84D75E0147}" dt="2022-11-01T23:45:00.023" v="3450" actId="478"/>
          <ac:spMkLst>
            <pc:docMk/>
            <pc:sldMk cId="898007441" sldId="2397"/>
            <ac:spMk id="37" creationId="{B15EC3E4-C265-C1FD-D742-B35B540F34C8}"/>
          </ac:spMkLst>
        </pc:spChg>
      </pc:sldChg>
      <pc:sldChg chg="addSp delSp modSp add mod">
        <pc:chgData name="Aurelien Domont" userId="6da7715ce44349b3" providerId="LiveId" clId="{9689C7A7-0C7F-47C6-AB86-2D84D75E0147}" dt="2022-11-01T23:45:06.559" v="3453"/>
        <pc:sldMkLst>
          <pc:docMk/>
          <pc:sldMk cId="550619796" sldId="2398"/>
        </pc:sldMkLst>
        <pc:spChg chg="mod">
          <ac:chgData name="Aurelien Domont" userId="6da7715ce44349b3" providerId="LiveId" clId="{9689C7A7-0C7F-47C6-AB86-2D84D75E0147}" dt="2022-10-31T23:35:01.084" v="425" actId="1036"/>
          <ac:spMkLst>
            <pc:docMk/>
            <pc:sldMk cId="550619796" sldId="2398"/>
            <ac:spMk id="2" creationId="{547CB403-88D0-99AE-C93F-28EEFD77F877}"/>
          </ac:spMkLst>
        </pc:spChg>
        <pc:spChg chg="add mod">
          <ac:chgData name="Aurelien Domont" userId="6da7715ce44349b3" providerId="LiveId" clId="{9689C7A7-0C7F-47C6-AB86-2D84D75E0147}" dt="2022-11-01T23:45:06.559" v="3453"/>
          <ac:spMkLst>
            <pc:docMk/>
            <pc:sldMk cId="550619796" sldId="2398"/>
            <ac:spMk id="4" creationId="{9391432B-CCAC-F18E-CE89-C8A0A14F4221}"/>
          </ac:spMkLst>
        </pc:spChg>
        <pc:spChg chg="add mod">
          <ac:chgData name="Aurelien Domont" userId="6da7715ce44349b3" providerId="LiveId" clId="{9689C7A7-0C7F-47C6-AB86-2D84D75E0147}" dt="2022-11-01T23:45:06.559" v="3453"/>
          <ac:spMkLst>
            <pc:docMk/>
            <pc:sldMk cId="550619796" sldId="2398"/>
            <ac:spMk id="5" creationId="{E22E3949-984E-E2C9-483F-E95CEE1F1A55}"/>
          </ac:spMkLst>
        </pc:spChg>
        <pc:spChg chg="mod">
          <ac:chgData name="Aurelien Domont" userId="6da7715ce44349b3" providerId="LiveId" clId="{9689C7A7-0C7F-47C6-AB86-2D84D75E0147}" dt="2022-11-01T02:06:58.838" v="1151" actId="20577"/>
          <ac:spMkLst>
            <pc:docMk/>
            <pc:sldMk cId="550619796" sldId="2398"/>
            <ac:spMk id="28" creationId="{83025740-608C-E49F-0E85-A78BD7F3DDD3}"/>
          </ac:spMkLst>
        </pc:spChg>
        <pc:spChg chg="del mod">
          <ac:chgData name="Aurelien Domont" userId="6da7715ce44349b3" providerId="LiveId" clId="{9689C7A7-0C7F-47C6-AB86-2D84D75E0147}" dt="2022-11-01T23:45:06.318" v="3452" actId="478"/>
          <ac:spMkLst>
            <pc:docMk/>
            <pc:sldMk cId="550619796" sldId="2398"/>
            <ac:spMk id="35" creationId="{7758CDCB-3EC2-2649-205A-634E6CD09FD3}"/>
          </ac:spMkLst>
        </pc:spChg>
        <pc:spChg chg="del">
          <ac:chgData name="Aurelien Domont" userId="6da7715ce44349b3" providerId="LiveId" clId="{9689C7A7-0C7F-47C6-AB86-2D84D75E0147}" dt="2022-11-01T23:45:06.318" v="3452" actId="478"/>
          <ac:spMkLst>
            <pc:docMk/>
            <pc:sldMk cId="550619796" sldId="2398"/>
            <ac:spMk id="37" creationId="{B15EC3E4-C265-C1FD-D742-B35B540F34C8}"/>
          </ac:spMkLst>
        </pc:spChg>
      </pc:sldChg>
      <pc:sldChg chg="addSp delSp modSp add mod">
        <pc:chgData name="Aurelien Domont" userId="6da7715ce44349b3" providerId="LiveId" clId="{9689C7A7-0C7F-47C6-AB86-2D84D75E0147}" dt="2022-11-01T23:45:11.707" v="3455"/>
        <pc:sldMkLst>
          <pc:docMk/>
          <pc:sldMk cId="1084260670" sldId="2399"/>
        </pc:sldMkLst>
        <pc:spChg chg="mod">
          <ac:chgData name="Aurelien Domont" userId="6da7715ce44349b3" providerId="LiveId" clId="{9689C7A7-0C7F-47C6-AB86-2D84D75E0147}" dt="2022-10-31T23:35:22.388" v="438" actId="1035"/>
          <ac:spMkLst>
            <pc:docMk/>
            <pc:sldMk cId="1084260670" sldId="2399"/>
            <ac:spMk id="2" creationId="{547CB403-88D0-99AE-C93F-28EEFD77F877}"/>
          </ac:spMkLst>
        </pc:spChg>
        <pc:spChg chg="add mod">
          <ac:chgData name="Aurelien Domont" userId="6da7715ce44349b3" providerId="LiveId" clId="{9689C7A7-0C7F-47C6-AB86-2D84D75E0147}" dt="2022-11-01T23:45:11.707" v="3455"/>
          <ac:spMkLst>
            <pc:docMk/>
            <pc:sldMk cId="1084260670" sldId="2399"/>
            <ac:spMk id="4" creationId="{6C50F615-6A79-61F0-5029-AD8E451661BD}"/>
          </ac:spMkLst>
        </pc:spChg>
        <pc:spChg chg="add mod">
          <ac:chgData name="Aurelien Domont" userId="6da7715ce44349b3" providerId="LiveId" clId="{9689C7A7-0C7F-47C6-AB86-2D84D75E0147}" dt="2022-11-01T23:45:11.707" v="3455"/>
          <ac:spMkLst>
            <pc:docMk/>
            <pc:sldMk cId="1084260670" sldId="2399"/>
            <ac:spMk id="5" creationId="{224758B1-AB97-257F-2879-AF3D207C4F8E}"/>
          </ac:spMkLst>
        </pc:spChg>
        <pc:spChg chg="mod">
          <ac:chgData name="Aurelien Domont" userId="6da7715ce44349b3" providerId="LiveId" clId="{9689C7A7-0C7F-47C6-AB86-2D84D75E0147}" dt="2022-11-01T02:07:02.155" v="1152" actId="20577"/>
          <ac:spMkLst>
            <pc:docMk/>
            <pc:sldMk cId="1084260670" sldId="2399"/>
            <ac:spMk id="28" creationId="{83025740-608C-E49F-0E85-A78BD7F3DDD3}"/>
          </ac:spMkLst>
        </pc:spChg>
        <pc:spChg chg="del mod">
          <ac:chgData name="Aurelien Domont" userId="6da7715ce44349b3" providerId="LiveId" clId="{9689C7A7-0C7F-47C6-AB86-2D84D75E0147}" dt="2022-11-01T23:45:11.378" v="3454" actId="478"/>
          <ac:spMkLst>
            <pc:docMk/>
            <pc:sldMk cId="1084260670" sldId="2399"/>
            <ac:spMk id="35" creationId="{7758CDCB-3EC2-2649-205A-634E6CD09FD3}"/>
          </ac:spMkLst>
        </pc:spChg>
        <pc:spChg chg="del">
          <ac:chgData name="Aurelien Domont" userId="6da7715ce44349b3" providerId="LiveId" clId="{9689C7A7-0C7F-47C6-AB86-2D84D75E0147}" dt="2022-11-01T23:45:11.378" v="3454" actId="478"/>
          <ac:spMkLst>
            <pc:docMk/>
            <pc:sldMk cId="1084260670" sldId="2399"/>
            <ac:spMk id="37" creationId="{B15EC3E4-C265-C1FD-D742-B35B540F34C8}"/>
          </ac:spMkLst>
        </pc:spChg>
      </pc:sldChg>
      <pc:sldChg chg="addSp delSp modSp add mod">
        <pc:chgData name="Aurelien Domont" userId="6da7715ce44349b3" providerId="LiveId" clId="{9689C7A7-0C7F-47C6-AB86-2D84D75E0147}" dt="2022-11-01T23:45:16.042" v="3457"/>
        <pc:sldMkLst>
          <pc:docMk/>
          <pc:sldMk cId="125313979" sldId="2400"/>
        </pc:sldMkLst>
        <pc:spChg chg="mod">
          <ac:chgData name="Aurelien Domont" userId="6da7715ce44349b3" providerId="LiveId" clId="{9689C7A7-0C7F-47C6-AB86-2D84D75E0147}" dt="2022-10-31T23:35:27.666" v="450" actId="1036"/>
          <ac:spMkLst>
            <pc:docMk/>
            <pc:sldMk cId="125313979" sldId="2400"/>
            <ac:spMk id="2" creationId="{547CB403-88D0-99AE-C93F-28EEFD77F877}"/>
          </ac:spMkLst>
        </pc:spChg>
        <pc:spChg chg="add mod">
          <ac:chgData name="Aurelien Domont" userId="6da7715ce44349b3" providerId="LiveId" clId="{9689C7A7-0C7F-47C6-AB86-2D84D75E0147}" dt="2022-11-01T23:45:16.042" v="3457"/>
          <ac:spMkLst>
            <pc:docMk/>
            <pc:sldMk cId="125313979" sldId="2400"/>
            <ac:spMk id="4" creationId="{0B25F35D-D456-3870-6840-F790F653027B}"/>
          </ac:spMkLst>
        </pc:spChg>
        <pc:spChg chg="add mod">
          <ac:chgData name="Aurelien Domont" userId="6da7715ce44349b3" providerId="LiveId" clId="{9689C7A7-0C7F-47C6-AB86-2D84D75E0147}" dt="2022-11-01T23:45:16.042" v="3457"/>
          <ac:spMkLst>
            <pc:docMk/>
            <pc:sldMk cId="125313979" sldId="2400"/>
            <ac:spMk id="5" creationId="{5F969D23-B2F9-1FAE-2495-F051E3A5B3F5}"/>
          </ac:spMkLst>
        </pc:spChg>
        <pc:spChg chg="mod">
          <ac:chgData name="Aurelien Domont" userId="6da7715ce44349b3" providerId="LiveId" clId="{9689C7A7-0C7F-47C6-AB86-2D84D75E0147}" dt="2022-11-01T02:07:05.180" v="1153" actId="20577"/>
          <ac:spMkLst>
            <pc:docMk/>
            <pc:sldMk cId="125313979" sldId="2400"/>
            <ac:spMk id="28" creationId="{83025740-608C-E49F-0E85-A78BD7F3DDD3}"/>
          </ac:spMkLst>
        </pc:spChg>
        <pc:spChg chg="del mod">
          <ac:chgData name="Aurelien Domont" userId="6da7715ce44349b3" providerId="LiveId" clId="{9689C7A7-0C7F-47C6-AB86-2D84D75E0147}" dt="2022-11-01T23:45:15.726" v="3456" actId="478"/>
          <ac:spMkLst>
            <pc:docMk/>
            <pc:sldMk cId="125313979" sldId="2400"/>
            <ac:spMk id="35" creationId="{7758CDCB-3EC2-2649-205A-634E6CD09FD3}"/>
          </ac:spMkLst>
        </pc:spChg>
        <pc:spChg chg="del">
          <ac:chgData name="Aurelien Domont" userId="6da7715ce44349b3" providerId="LiveId" clId="{9689C7A7-0C7F-47C6-AB86-2D84D75E0147}" dt="2022-11-01T23:45:15.726" v="3456" actId="478"/>
          <ac:spMkLst>
            <pc:docMk/>
            <pc:sldMk cId="125313979" sldId="2400"/>
            <ac:spMk id="37" creationId="{B15EC3E4-C265-C1FD-D742-B35B540F34C8}"/>
          </ac:spMkLst>
        </pc:spChg>
      </pc:sldChg>
      <pc:sldChg chg="addSp delSp modSp add del mod">
        <pc:chgData name="Aurelien Domont" userId="6da7715ce44349b3" providerId="LiveId" clId="{9689C7A7-0C7F-47C6-AB86-2D84D75E0147}" dt="2022-11-01T23:44:28.962" v="3443"/>
        <pc:sldMkLst>
          <pc:docMk/>
          <pc:sldMk cId="2846812865" sldId="2401"/>
        </pc:sldMkLst>
        <pc:spChg chg="mod">
          <ac:chgData name="Aurelien Domont" userId="6da7715ce44349b3" providerId="LiveId" clId="{9689C7A7-0C7F-47C6-AB86-2D84D75E0147}" dt="2022-11-01T06:19:40.547" v="3167" actId="14100"/>
          <ac:spMkLst>
            <pc:docMk/>
            <pc:sldMk cId="2846812865" sldId="2401"/>
            <ac:spMk id="2" creationId="{547CB403-88D0-99AE-C93F-28EEFD77F877}"/>
          </ac:spMkLst>
        </pc:spChg>
        <pc:spChg chg="add mod">
          <ac:chgData name="Aurelien Domont" userId="6da7715ce44349b3" providerId="LiveId" clId="{9689C7A7-0C7F-47C6-AB86-2D84D75E0147}" dt="2022-11-01T23:44:28.962" v="3443"/>
          <ac:spMkLst>
            <pc:docMk/>
            <pc:sldMk cId="2846812865" sldId="2401"/>
            <ac:spMk id="4" creationId="{B2BD677C-9F4D-9EE4-EF4E-C7C3750AC07D}"/>
          </ac:spMkLst>
        </pc:spChg>
        <pc:spChg chg="add mod">
          <ac:chgData name="Aurelien Domont" userId="6da7715ce44349b3" providerId="LiveId" clId="{9689C7A7-0C7F-47C6-AB86-2D84D75E0147}" dt="2022-11-01T23:44:28.962" v="3443"/>
          <ac:spMkLst>
            <pc:docMk/>
            <pc:sldMk cId="2846812865" sldId="2401"/>
            <ac:spMk id="5" creationId="{B2FAC7C6-C87A-5EF1-9058-0651F5A87395}"/>
          </ac:spMkLst>
        </pc:spChg>
        <pc:spChg chg="mod">
          <ac:chgData name="Aurelien Domont" userId="6da7715ce44349b3" providerId="LiveId" clId="{9689C7A7-0C7F-47C6-AB86-2D84D75E0147}" dt="2022-11-01T02:06:17.412" v="1146" actId="20577"/>
          <ac:spMkLst>
            <pc:docMk/>
            <pc:sldMk cId="2846812865" sldId="2401"/>
            <ac:spMk id="28" creationId="{83025740-608C-E49F-0E85-A78BD7F3DDD3}"/>
          </ac:spMkLst>
        </pc:spChg>
        <pc:spChg chg="del mod">
          <ac:chgData name="Aurelien Domont" userId="6da7715ce44349b3" providerId="LiveId" clId="{9689C7A7-0C7F-47C6-AB86-2D84D75E0147}" dt="2022-11-01T23:44:28.662" v="3442" actId="478"/>
          <ac:spMkLst>
            <pc:docMk/>
            <pc:sldMk cId="2846812865" sldId="2401"/>
            <ac:spMk id="35" creationId="{7758CDCB-3EC2-2649-205A-634E6CD09FD3}"/>
          </ac:spMkLst>
        </pc:spChg>
        <pc:spChg chg="del">
          <ac:chgData name="Aurelien Domont" userId="6da7715ce44349b3" providerId="LiveId" clId="{9689C7A7-0C7F-47C6-AB86-2D84D75E0147}" dt="2022-11-01T23:44:28.662" v="3442" actId="478"/>
          <ac:spMkLst>
            <pc:docMk/>
            <pc:sldMk cId="2846812865" sldId="2401"/>
            <ac:spMk id="37" creationId="{B15EC3E4-C265-C1FD-D742-B35B540F34C8}"/>
          </ac:spMkLst>
        </pc:spChg>
      </pc:sldChg>
      <pc:sldChg chg="addSp delSp modSp add mod">
        <pc:chgData name="Aurelien Domont" userId="6da7715ce44349b3" providerId="LiveId" clId="{9689C7A7-0C7F-47C6-AB86-2D84D75E0147}" dt="2022-11-01T23:44:01.118" v="3437"/>
        <pc:sldMkLst>
          <pc:docMk/>
          <pc:sldMk cId="629613103" sldId="2402"/>
        </pc:sldMkLst>
        <pc:spChg chg="mod">
          <ac:chgData name="Aurelien Domont" userId="6da7715ce44349b3" providerId="LiveId" clId="{9689C7A7-0C7F-47C6-AB86-2D84D75E0147}" dt="2022-10-31T23:36:56.991" v="451" actId="14100"/>
          <ac:spMkLst>
            <pc:docMk/>
            <pc:sldMk cId="629613103" sldId="2402"/>
            <ac:spMk id="2" creationId="{547CB403-88D0-99AE-C93F-28EEFD77F877}"/>
          </ac:spMkLst>
        </pc:spChg>
        <pc:spChg chg="add mod">
          <ac:chgData name="Aurelien Domont" userId="6da7715ce44349b3" providerId="LiveId" clId="{9689C7A7-0C7F-47C6-AB86-2D84D75E0147}" dt="2022-11-01T23:44:01.118" v="3437"/>
          <ac:spMkLst>
            <pc:docMk/>
            <pc:sldMk cId="629613103" sldId="2402"/>
            <ac:spMk id="4" creationId="{C29F6F76-2E94-821B-67AC-EB41F21240C4}"/>
          </ac:spMkLst>
        </pc:spChg>
        <pc:spChg chg="add mod">
          <ac:chgData name="Aurelien Domont" userId="6da7715ce44349b3" providerId="LiveId" clId="{9689C7A7-0C7F-47C6-AB86-2D84D75E0147}" dt="2022-11-01T23:44:01.118" v="3437"/>
          <ac:spMkLst>
            <pc:docMk/>
            <pc:sldMk cId="629613103" sldId="2402"/>
            <ac:spMk id="5" creationId="{6FDE9BB6-3090-F831-F90D-0C38E4D65412}"/>
          </ac:spMkLst>
        </pc:spChg>
        <pc:spChg chg="mod">
          <ac:chgData name="Aurelien Domont" userId="6da7715ce44349b3" providerId="LiveId" clId="{9689C7A7-0C7F-47C6-AB86-2D84D75E0147}" dt="2022-11-01T02:06:31.795" v="1149" actId="20577"/>
          <ac:spMkLst>
            <pc:docMk/>
            <pc:sldMk cId="629613103" sldId="2402"/>
            <ac:spMk id="28" creationId="{83025740-608C-E49F-0E85-A78BD7F3DDD3}"/>
          </ac:spMkLst>
        </pc:spChg>
        <pc:spChg chg="del">
          <ac:chgData name="Aurelien Domont" userId="6da7715ce44349b3" providerId="LiveId" clId="{9689C7A7-0C7F-47C6-AB86-2D84D75E0147}" dt="2022-11-01T23:44:00.780" v="3436" actId="478"/>
          <ac:spMkLst>
            <pc:docMk/>
            <pc:sldMk cId="629613103" sldId="2402"/>
            <ac:spMk id="35" creationId="{7758CDCB-3EC2-2649-205A-634E6CD09FD3}"/>
          </ac:spMkLst>
        </pc:spChg>
        <pc:spChg chg="del">
          <ac:chgData name="Aurelien Domont" userId="6da7715ce44349b3" providerId="LiveId" clId="{9689C7A7-0C7F-47C6-AB86-2D84D75E0147}" dt="2022-11-01T23:44:00.780" v="3436" actId="478"/>
          <ac:spMkLst>
            <pc:docMk/>
            <pc:sldMk cId="629613103" sldId="2402"/>
            <ac:spMk id="37" creationId="{B15EC3E4-C265-C1FD-D742-B35B540F34C8}"/>
          </ac:spMkLst>
        </pc:spChg>
      </pc:sldChg>
      <pc:sldChg chg="addSp delSp modSp add mod">
        <pc:chgData name="Aurelien Domont" userId="6da7715ce44349b3" providerId="LiveId" clId="{9689C7A7-0C7F-47C6-AB86-2D84D75E0147}" dt="2022-11-01T23:49:58.860" v="3500" actId="1036"/>
        <pc:sldMkLst>
          <pc:docMk/>
          <pc:sldMk cId="2780195890" sldId="2403"/>
        </pc:sldMkLst>
        <pc:spChg chg="mod">
          <ac:chgData name="Aurelien Domont" userId="6da7715ce44349b3" providerId="LiveId" clId="{9689C7A7-0C7F-47C6-AB86-2D84D75E0147}" dt="2022-11-01T23:49:58.860" v="3500" actId="1036"/>
          <ac:spMkLst>
            <pc:docMk/>
            <pc:sldMk cId="2780195890" sldId="2403"/>
            <ac:spMk id="2" creationId="{547CB403-88D0-99AE-C93F-28EEFD77F877}"/>
          </ac:spMkLst>
        </pc:spChg>
        <pc:spChg chg="add mod">
          <ac:chgData name="Aurelien Domont" userId="6da7715ce44349b3" providerId="LiveId" clId="{9689C7A7-0C7F-47C6-AB86-2D84D75E0147}" dt="2022-11-01T23:44:11.400" v="3439"/>
          <ac:spMkLst>
            <pc:docMk/>
            <pc:sldMk cId="2780195890" sldId="2403"/>
            <ac:spMk id="4" creationId="{1B4F3691-65CF-DFEA-CB5A-C8E67EE13CF1}"/>
          </ac:spMkLst>
        </pc:spChg>
        <pc:spChg chg="add mod">
          <ac:chgData name="Aurelien Domont" userId="6da7715ce44349b3" providerId="LiveId" clId="{9689C7A7-0C7F-47C6-AB86-2D84D75E0147}" dt="2022-11-01T23:44:11.400" v="3439"/>
          <ac:spMkLst>
            <pc:docMk/>
            <pc:sldMk cId="2780195890" sldId="2403"/>
            <ac:spMk id="5" creationId="{9349870F-876D-C6F4-464E-3861F748CE54}"/>
          </ac:spMkLst>
        </pc:spChg>
        <pc:spChg chg="mod">
          <ac:chgData name="Aurelien Domont" userId="6da7715ce44349b3" providerId="LiveId" clId="{9689C7A7-0C7F-47C6-AB86-2D84D75E0147}" dt="2022-11-01T02:05:46.739" v="1145" actId="20577"/>
          <ac:spMkLst>
            <pc:docMk/>
            <pc:sldMk cId="2780195890" sldId="2403"/>
            <ac:spMk id="28" creationId="{83025740-608C-E49F-0E85-A78BD7F3DDD3}"/>
          </ac:spMkLst>
        </pc:spChg>
        <pc:spChg chg="del mod">
          <ac:chgData name="Aurelien Domont" userId="6da7715ce44349b3" providerId="LiveId" clId="{9689C7A7-0C7F-47C6-AB86-2D84D75E0147}" dt="2022-11-01T23:44:11.125" v="3438" actId="478"/>
          <ac:spMkLst>
            <pc:docMk/>
            <pc:sldMk cId="2780195890" sldId="2403"/>
            <ac:spMk id="35" creationId="{7758CDCB-3EC2-2649-205A-634E6CD09FD3}"/>
          </ac:spMkLst>
        </pc:spChg>
        <pc:spChg chg="mod">
          <ac:chgData name="Aurelien Domont" userId="6da7715ce44349b3" providerId="LiveId" clId="{9689C7A7-0C7F-47C6-AB86-2D84D75E0147}" dt="2022-10-31T23:59:08.715" v="954" actId="790"/>
          <ac:spMkLst>
            <pc:docMk/>
            <pc:sldMk cId="2780195890" sldId="2403"/>
            <ac:spMk id="36" creationId="{96A37023-EB4F-D051-DA3E-C3CFF0599367}"/>
          </ac:spMkLst>
        </pc:spChg>
        <pc:spChg chg="del">
          <ac:chgData name="Aurelien Domont" userId="6da7715ce44349b3" providerId="LiveId" clId="{9689C7A7-0C7F-47C6-AB86-2D84D75E0147}" dt="2022-11-01T23:44:11.125" v="3438" actId="478"/>
          <ac:spMkLst>
            <pc:docMk/>
            <pc:sldMk cId="2780195890" sldId="2403"/>
            <ac:spMk id="37" creationId="{B15EC3E4-C265-C1FD-D742-B35B540F34C8}"/>
          </ac:spMkLst>
        </pc:spChg>
      </pc:sldChg>
      <pc:sldChg chg="delSp modSp add mod ord">
        <pc:chgData name="Aurelien Domont" userId="6da7715ce44349b3" providerId="LiveId" clId="{9689C7A7-0C7F-47C6-AB86-2D84D75E0147}" dt="2022-10-31T23:51:17.403" v="845" actId="20577"/>
        <pc:sldMkLst>
          <pc:docMk/>
          <pc:sldMk cId="1733673969" sldId="2404"/>
        </pc:sldMkLst>
        <pc:spChg chg="mod">
          <ac:chgData name="Aurelien Domont" userId="6da7715ce44349b3" providerId="LiveId" clId="{9689C7A7-0C7F-47C6-AB86-2D84D75E0147}" dt="2022-10-31T23:48:39.642" v="739" actId="20577"/>
          <ac:spMkLst>
            <pc:docMk/>
            <pc:sldMk cId="1733673969" sldId="2404"/>
            <ac:spMk id="2" creationId="{98205034-64E8-4435-BFA1-43956B7507D0}"/>
          </ac:spMkLst>
        </pc:spChg>
        <pc:spChg chg="mod">
          <ac:chgData name="Aurelien Domont" userId="6da7715ce44349b3" providerId="LiveId" clId="{9689C7A7-0C7F-47C6-AB86-2D84D75E0147}" dt="2022-10-31T23:51:15.605" v="843" actId="20577"/>
          <ac:spMkLst>
            <pc:docMk/>
            <pc:sldMk cId="1733673969" sldId="2404"/>
            <ac:spMk id="22" creationId="{E87741F7-EE89-4FF8-9BCA-9EBB7B3A4557}"/>
          </ac:spMkLst>
        </pc:spChg>
        <pc:spChg chg="mod">
          <ac:chgData name="Aurelien Domont" userId="6da7715ce44349b3" providerId="LiveId" clId="{9689C7A7-0C7F-47C6-AB86-2D84D75E0147}" dt="2022-10-31T23:51:16.626" v="844" actId="20577"/>
          <ac:spMkLst>
            <pc:docMk/>
            <pc:sldMk cId="1733673969" sldId="2404"/>
            <ac:spMk id="23" creationId="{E5DD98FC-4932-4C1E-A15B-D39590DEB94A}"/>
          </ac:spMkLst>
        </pc:spChg>
        <pc:spChg chg="mod">
          <ac:chgData name="Aurelien Domont" userId="6da7715ce44349b3" providerId="LiveId" clId="{9689C7A7-0C7F-47C6-AB86-2D84D75E0147}" dt="2022-10-31T23:51:17.403" v="845" actId="20577"/>
          <ac:spMkLst>
            <pc:docMk/>
            <pc:sldMk cId="1733673969" sldId="2404"/>
            <ac:spMk id="24" creationId="{EE870A2B-FBF0-40AE-9A76-A3EE30B679F3}"/>
          </ac:spMkLst>
        </pc:spChg>
        <pc:spChg chg="mod">
          <ac:chgData name="Aurelien Domont" userId="6da7715ce44349b3" providerId="LiveId" clId="{9689C7A7-0C7F-47C6-AB86-2D84D75E0147}" dt="2022-10-31T23:49:10.377" v="745" actId="108"/>
          <ac:spMkLst>
            <pc:docMk/>
            <pc:sldMk cId="1733673969" sldId="2404"/>
            <ac:spMk id="25" creationId="{EC7006D8-B3D9-4B52-9276-79903F34D99B}"/>
          </ac:spMkLst>
        </pc:spChg>
        <pc:spChg chg="mod">
          <ac:chgData name="Aurelien Domont" userId="6da7715ce44349b3" providerId="LiveId" clId="{9689C7A7-0C7F-47C6-AB86-2D84D75E0147}" dt="2022-10-31T23:48:49.396" v="741" actId="1076"/>
          <ac:spMkLst>
            <pc:docMk/>
            <pc:sldMk cId="1733673969" sldId="2404"/>
            <ac:spMk id="26" creationId="{5C742132-3DB4-46D5-8D96-E7ECCA5E45FE}"/>
          </ac:spMkLst>
        </pc:spChg>
        <pc:spChg chg="mod">
          <ac:chgData name="Aurelien Domont" userId="6da7715ce44349b3" providerId="LiveId" clId="{9689C7A7-0C7F-47C6-AB86-2D84D75E0147}" dt="2022-10-31T23:49:09.864" v="744" actId="108"/>
          <ac:spMkLst>
            <pc:docMk/>
            <pc:sldMk cId="1733673969" sldId="2404"/>
            <ac:spMk id="27" creationId="{60FBB605-0C8B-4391-8C6A-159FBBD4862D}"/>
          </ac:spMkLst>
        </pc:spChg>
        <pc:spChg chg="del">
          <ac:chgData name="Aurelien Domont" userId="6da7715ce44349b3" providerId="LiveId" clId="{9689C7A7-0C7F-47C6-AB86-2D84D75E0147}" dt="2022-10-31T23:48:43.431" v="740" actId="478"/>
          <ac:spMkLst>
            <pc:docMk/>
            <pc:sldMk cId="1733673969" sldId="2404"/>
            <ac:spMk id="28" creationId="{C1035047-1392-4B8E-88C7-0FCCFF38FF60}"/>
          </ac:spMkLst>
        </pc:spChg>
        <pc:spChg chg="del">
          <ac:chgData name="Aurelien Domont" userId="6da7715ce44349b3" providerId="LiveId" clId="{9689C7A7-0C7F-47C6-AB86-2D84D75E0147}" dt="2022-10-31T23:48:43.431" v="740" actId="478"/>
          <ac:spMkLst>
            <pc:docMk/>
            <pc:sldMk cId="1733673969" sldId="2404"/>
            <ac:spMk id="29" creationId="{A9FE44F1-483A-4097-AAE6-00D26499A8E4}"/>
          </ac:spMkLst>
        </pc:spChg>
        <pc:picChg chg="del">
          <ac:chgData name="Aurelien Domont" userId="6da7715ce44349b3" providerId="LiveId" clId="{9689C7A7-0C7F-47C6-AB86-2D84D75E0147}" dt="2022-10-31T23:47:57.899" v="631" actId="478"/>
          <ac:picMkLst>
            <pc:docMk/>
            <pc:sldMk cId="1733673969" sldId="2404"/>
            <ac:picMk id="5" creationId="{56B1C362-96F1-4BC9-AC8E-F365FD8F8E8A}"/>
          </ac:picMkLst>
        </pc:picChg>
      </pc:sldChg>
      <pc:sldChg chg="modSp add del mod">
        <pc:chgData name="Aurelien Domont" userId="6da7715ce44349b3" providerId="LiveId" clId="{9689C7A7-0C7F-47C6-AB86-2D84D75E0147}" dt="2022-10-31T23:51:58.908" v="849" actId="47"/>
        <pc:sldMkLst>
          <pc:docMk/>
          <pc:sldMk cId="1944618945" sldId="2405"/>
        </pc:sldMkLst>
        <pc:spChg chg="mod">
          <ac:chgData name="Aurelien Domont" userId="6da7715ce44349b3" providerId="LiveId" clId="{9689C7A7-0C7F-47C6-AB86-2D84D75E0147}" dt="2022-10-31T23:51:20.633" v="846" actId="20577"/>
          <ac:spMkLst>
            <pc:docMk/>
            <pc:sldMk cId="1944618945" sldId="2405"/>
            <ac:spMk id="22" creationId="{E87741F7-EE89-4FF8-9BCA-9EBB7B3A4557}"/>
          </ac:spMkLst>
        </pc:spChg>
        <pc:spChg chg="mod">
          <ac:chgData name="Aurelien Domont" userId="6da7715ce44349b3" providerId="LiveId" clId="{9689C7A7-0C7F-47C6-AB86-2D84D75E0147}" dt="2022-10-31T23:51:21.612" v="847" actId="20577"/>
          <ac:spMkLst>
            <pc:docMk/>
            <pc:sldMk cId="1944618945" sldId="2405"/>
            <ac:spMk id="23" creationId="{E5DD98FC-4932-4C1E-A15B-D39590DEB94A}"/>
          </ac:spMkLst>
        </pc:spChg>
        <pc:spChg chg="mod">
          <ac:chgData name="Aurelien Domont" userId="6da7715ce44349b3" providerId="LiveId" clId="{9689C7A7-0C7F-47C6-AB86-2D84D75E0147}" dt="2022-10-31T23:51:22.336" v="848" actId="20577"/>
          <ac:spMkLst>
            <pc:docMk/>
            <pc:sldMk cId="1944618945" sldId="2405"/>
            <ac:spMk id="24" creationId="{EE870A2B-FBF0-40AE-9A76-A3EE30B679F3}"/>
          </ac:spMkLst>
        </pc:spChg>
        <pc:spChg chg="mod">
          <ac:chgData name="Aurelien Domont" userId="6da7715ce44349b3" providerId="LiveId" clId="{9689C7A7-0C7F-47C6-AB86-2D84D75E0147}" dt="2022-10-31T23:51:02.882" v="842" actId="207"/>
          <ac:spMkLst>
            <pc:docMk/>
            <pc:sldMk cId="1944618945" sldId="2405"/>
            <ac:spMk id="26" creationId="{5C742132-3DB4-46D5-8D96-E7ECCA5E45FE}"/>
          </ac:spMkLst>
        </pc:spChg>
        <pc:spChg chg="mod">
          <ac:chgData name="Aurelien Domont" userId="6da7715ce44349b3" providerId="LiveId" clId="{9689C7A7-0C7F-47C6-AB86-2D84D75E0147}" dt="2022-10-31T23:51:02.882" v="842" actId="207"/>
          <ac:spMkLst>
            <pc:docMk/>
            <pc:sldMk cId="1944618945" sldId="2405"/>
            <ac:spMk id="27" creationId="{60FBB605-0C8B-4391-8C6A-159FBBD4862D}"/>
          </ac:spMkLst>
        </pc:spChg>
      </pc:sldChg>
      <pc:sldChg chg="modSp add mod">
        <pc:chgData name="Aurelien Domont" userId="6da7715ce44349b3" providerId="LiveId" clId="{9689C7A7-0C7F-47C6-AB86-2D84D75E0147}" dt="2022-11-01T03:07:35.623" v="2077"/>
        <pc:sldMkLst>
          <pc:docMk/>
          <pc:sldMk cId="1755678747" sldId="2442"/>
        </pc:sldMkLst>
        <pc:spChg chg="mod">
          <ac:chgData name="Aurelien Domont" userId="6da7715ce44349b3" providerId="LiveId" clId="{9689C7A7-0C7F-47C6-AB86-2D84D75E0147}" dt="2022-11-01T03:07:35.623" v="2077"/>
          <ac:spMkLst>
            <pc:docMk/>
            <pc:sldMk cId="1755678747" sldId="2442"/>
            <ac:spMk id="14" creationId="{C9800183-F524-4412-AB39-A6E1A21FF0B3}"/>
          </ac:spMkLst>
        </pc:spChg>
      </pc:sldChg>
      <pc:sldChg chg="modSp add mod">
        <pc:chgData name="Aurelien Domont" userId="6da7715ce44349b3" providerId="LiveId" clId="{9689C7A7-0C7F-47C6-AB86-2D84D75E0147}" dt="2022-11-01T03:07:39.109" v="2078"/>
        <pc:sldMkLst>
          <pc:docMk/>
          <pc:sldMk cId="1154909907" sldId="2443"/>
        </pc:sldMkLst>
        <pc:spChg chg="mod">
          <ac:chgData name="Aurelien Domont" userId="6da7715ce44349b3" providerId="LiveId" clId="{9689C7A7-0C7F-47C6-AB86-2D84D75E0147}" dt="2022-11-01T03:07:39.109" v="2078"/>
          <ac:spMkLst>
            <pc:docMk/>
            <pc:sldMk cId="1154909907" sldId="2443"/>
            <ac:spMk id="14" creationId="{C9800183-F524-4412-AB39-A6E1A21FF0B3}"/>
          </ac:spMkLst>
        </pc:spChg>
      </pc:sldChg>
      <pc:sldChg chg="addSp delSp modSp add mod">
        <pc:chgData name="Aurelien Domont" userId="6da7715ce44349b3" providerId="LiveId" clId="{9689C7A7-0C7F-47C6-AB86-2D84D75E0147}" dt="2022-11-01T03:07:29.020" v="2075"/>
        <pc:sldMkLst>
          <pc:docMk/>
          <pc:sldMk cId="849356259" sldId="2444"/>
        </pc:sldMkLst>
        <pc:spChg chg="add mod">
          <ac:chgData name="Aurelien Domont" userId="6da7715ce44349b3" providerId="LiveId" clId="{9689C7A7-0C7F-47C6-AB86-2D84D75E0147}" dt="2022-11-01T02:16:40.871" v="1273"/>
          <ac:spMkLst>
            <pc:docMk/>
            <pc:sldMk cId="849356259" sldId="2444"/>
            <ac:spMk id="2" creationId="{F56CC123-5DA9-4571-13E2-F632C6F49828}"/>
          </ac:spMkLst>
        </pc:spChg>
        <pc:spChg chg="add del mod">
          <ac:chgData name="Aurelien Domont" userId="6da7715ce44349b3" providerId="LiveId" clId="{9689C7A7-0C7F-47C6-AB86-2D84D75E0147}" dt="2022-11-01T02:17:39.999" v="1284" actId="478"/>
          <ac:spMkLst>
            <pc:docMk/>
            <pc:sldMk cId="849356259" sldId="2444"/>
            <ac:spMk id="4" creationId="{70E9B7A7-78F9-1E93-DA14-22079287E93B}"/>
          </ac:spMkLst>
        </pc:spChg>
        <pc:spChg chg="add del mod">
          <ac:chgData name="Aurelien Domont" userId="6da7715ce44349b3" providerId="LiveId" clId="{9689C7A7-0C7F-47C6-AB86-2D84D75E0147}" dt="2022-11-01T02:17:39.999" v="1284" actId="478"/>
          <ac:spMkLst>
            <pc:docMk/>
            <pc:sldMk cId="849356259" sldId="2444"/>
            <ac:spMk id="5" creationId="{781DC47F-5979-DB9A-A69C-5D729AA32CB5}"/>
          </ac:spMkLst>
        </pc:spChg>
        <pc:spChg chg="add del mod">
          <ac:chgData name="Aurelien Domont" userId="6da7715ce44349b3" providerId="LiveId" clId="{9689C7A7-0C7F-47C6-AB86-2D84D75E0147}" dt="2022-11-01T02:17:39.999" v="1284" actId="478"/>
          <ac:spMkLst>
            <pc:docMk/>
            <pc:sldMk cId="849356259" sldId="2444"/>
            <ac:spMk id="6" creationId="{536346B5-EEC7-0997-9E81-27F7780DB2BD}"/>
          </ac:spMkLst>
        </pc:spChg>
        <pc:spChg chg="add del mod">
          <ac:chgData name="Aurelien Domont" userId="6da7715ce44349b3" providerId="LiveId" clId="{9689C7A7-0C7F-47C6-AB86-2D84D75E0147}" dt="2022-11-01T02:17:39.999" v="1284" actId="478"/>
          <ac:spMkLst>
            <pc:docMk/>
            <pc:sldMk cId="849356259" sldId="2444"/>
            <ac:spMk id="7" creationId="{AD50119C-E0C3-AB62-68F1-49FF28B80A95}"/>
          </ac:spMkLst>
        </pc:spChg>
        <pc:spChg chg="add del mod">
          <ac:chgData name="Aurelien Domont" userId="6da7715ce44349b3" providerId="LiveId" clId="{9689C7A7-0C7F-47C6-AB86-2D84D75E0147}" dt="2022-11-01T02:17:39.999" v="1284" actId="478"/>
          <ac:spMkLst>
            <pc:docMk/>
            <pc:sldMk cId="849356259" sldId="2444"/>
            <ac:spMk id="8" creationId="{6524F4E8-F7B1-548B-C3D7-CD0F9EE7C00A}"/>
          </ac:spMkLst>
        </pc:spChg>
        <pc:spChg chg="add del mod">
          <ac:chgData name="Aurelien Domont" userId="6da7715ce44349b3" providerId="LiveId" clId="{9689C7A7-0C7F-47C6-AB86-2D84D75E0147}" dt="2022-11-01T02:17:39.999" v="1284" actId="478"/>
          <ac:spMkLst>
            <pc:docMk/>
            <pc:sldMk cId="849356259" sldId="2444"/>
            <ac:spMk id="9" creationId="{2E6753A2-BAB1-A458-41D3-F2FE9193B99C}"/>
          </ac:spMkLst>
        </pc:spChg>
        <pc:spChg chg="add del mod">
          <ac:chgData name="Aurelien Domont" userId="6da7715ce44349b3" providerId="LiveId" clId="{9689C7A7-0C7F-47C6-AB86-2D84D75E0147}" dt="2022-11-01T02:17:56.380" v="1290" actId="478"/>
          <ac:spMkLst>
            <pc:docMk/>
            <pc:sldMk cId="849356259" sldId="2444"/>
            <ac:spMk id="10" creationId="{1451083B-DE60-71C9-0047-D9F0B86A221E}"/>
          </ac:spMkLst>
        </pc:spChg>
        <pc:spChg chg="add del mod">
          <ac:chgData name="Aurelien Domont" userId="6da7715ce44349b3" providerId="LiveId" clId="{9689C7A7-0C7F-47C6-AB86-2D84D75E0147}" dt="2022-11-01T02:17:56.380" v="1290" actId="478"/>
          <ac:spMkLst>
            <pc:docMk/>
            <pc:sldMk cId="849356259" sldId="2444"/>
            <ac:spMk id="11" creationId="{337EA473-A39E-FD90-2197-2EDC6A763812}"/>
          </ac:spMkLst>
        </pc:spChg>
        <pc:spChg chg="mod">
          <ac:chgData name="Aurelien Domont" userId="6da7715ce44349b3" providerId="LiveId" clId="{9689C7A7-0C7F-47C6-AB86-2D84D75E0147}" dt="2022-11-01T02:16:57.099" v="1276"/>
          <ac:spMkLst>
            <pc:docMk/>
            <pc:sldMk cId="849356259" sldId="2444"/>
            <ac:spMk id="14" creationId="{AF2C9B93-915C-4105-9C97-819A28436820}"/>
          </ac:spMkLst>
        </pc:spChg>
        <pc:spChg chg="mod">
          <ac:chgData name="Aurelien Domont" userId="6da7715ce44349b3" providerId="LiveId" clId="{9689C7A7-0C7F-47C6-AB86-2D84D75E0147}" dt="2022-11-01T02:16:59.456" v="1277"/>
          <ac:spMkLst>
            <pc:docMk/>
            <pc:sldMk cId="849356259" sldId="2444"/>
            <ac:spMk id="15" creationId="{6EBB799A-DD91-4C68-A23D-4F535C1DE6D0}"/>
          </ac:spMkLst>
        </pc:spChg>
        <pc:spChg chg="mod">
          <ac:chgData name="Aurelien Domont" userId="6da7715ce44349b3" providerId="LiveId" clId="{9689C7A7-0C7F-47C6-AB86-2D84D75E0147}" dt="2022-11-01T03:07:29.020" v="2075"/>
          <ac:spMkLst>
            <pc:docMk/>
            <pc:sldMk cId="849356259" sldId="2444"/>
            <ac:spMk id="16" creationId="{6C2BB713-9637-4B9B-938F-E9768876782A}"/>
          </ac:spMkLst>
        </pc:spChg>
        <pc:spChg chg="mod">
          <ac:chgData name="Aurelien Domont" userId="6da7715ce44349b3" providerId="LiveId" clId="{9689C7A7-0C7F-47C6-AB86-2D84D75E0147}" dt="2022-11-01T02:17:50.855" v="1289"/>
          <ac:spMkLst>
            <pc:docMk/>
            <pc:sldMk cId="849356259" sldId="2444"/>
            <ac:spMk id="17" creationId="{CC6CAF77-0808-4A3C-A405-53BEB5C9BF32}"/>
          </ac:spMkLst>
        </pc:spChg>
        <pc:spChg chg="mod">
          <ac:chgData name="Aurelien Domont" userId="6da7715ce44349b3" providerId="LiveId" clId="{9689C7A7-0C7F-47C6-AB86-2D84D75E0147}" dt="2022-11-01T02:17:06.894" v="1282"/>
          <ac:spMkLst>
            <pc:docMk/>
            <pc:sldMk cId="849356259" sldId="2444"/>
            <ac:spMk id="18" creationId="{03C8F5C1-E31C-4905-A68D-C6EAC402BE99}"/>
          </ac:spMkLst>
        </pc:spChg>
        <pc:spChg chg="add del mod">
          <ac:chgData name="Aurelien Domont" userId="6da7715ce44349b3" providerId="LiveId" clId="{9689C7A7-0C7F-47C6-AB86-2D84D75E0147}" dt="2022-11-01T02:17:56.380" v="1290" actId="478"/>
          <ac:spMkLst>
            <pc:docMk/>
            <pc:sldMk cId="849356259" sldId="2444"/>
            <ac:spMk id="19" creationId="{CD363F54-FC4E-80FE-FCAC-CD110BB6D8F6}"/>
          </ac:spMkLst>
        </pc:spChg>
        <pc:spChg chg="add del mod">
          <ac:chgData name="Aurelien Domont" userId="6da7715ce44349b3" providerId="LiveId" clId="{9689C7A7-0C7F-47C6-AB86-2D84D75E0147}" dt="2022-11-01T02:17:56.380" v="1290" actId="478"/>
          <ac:spMkLst>
            <pc:docMk/>
            <pc:sldMk cId="849356259" sldId="2444"/>
            <ac:spMk id="20" creationId="{24A001F8-DD57-C4DE-18D9-D32126AB8DB7}"/>
          </ac:spMkLst>
        </pc:spChg>
        <pc:spChg chg="add del mod">
          <ac:chgData name="Aurelien Domont" userId="6da7715ce44349b3" providerId="LiveId" clId="{9689C7A7-0C7F-47C6-AB86-2D84D75E0147}" dt="2022-11-01T02:17:56.380" v="1290" actId="478"/>
          <ac:spMkLst>
            <pc:docMk/>
            <pc:sldMk cId="849356259" sldId="2444"/>
            <ac:spMk id="21" creationId="{2444BA3D-D8B9-9B96-629C-849E164769DC}"/>
          </ac:spMkLst>
        </pc:spChg>
        <pc:spChg chg="add del mod">
          <ac:chgData name="Aurelien Domont" userId="6da7715ce44349b3" providerId="LiveId" clId="{9689C7A7-0C7F-47C6-AB86-2D84D75E0147}" dt="2022-11-01T02:17:56.380" v="1290" actId="478"/>
          <ac:spMkLst>
            <pc:docMk/>
            <pc:sldMk cId="849356259" sldId="2444"/>
            <ac:spMk id="22" creationId="{A015A549-C39F-4F10-22AB-E19C91B825B8}"/>
          </ac:spMkLst>
        </pc:spChg>
        <pc:spChg chg="mod">
          <ac:chgData name="Aurelien Domont" userId="6da7715ce44349b3" providerId="LiveId" clId="{9689C7A7-0C7F-47C6-AB86-2D84D75E0147}" dt="2022-11-01T02:17:47.990" v="1288"/>
          <ac:spMkLst>
            <pc:docMk/>
            <pc:sldMk cId="849356259" sldId="2444"/>
            <ac:spMk id="24" creationId="{3921BBDB-53B5-4760-9FC7-6E553D430312}"/>
          </ac:spMkLst>
        </pc:spChg>
        <pc:spChg chg="mod">
          <ac:chgData name="Aurelien Domont" userId="6da7715ce44349b3" providerId="LiveId" clId="{9689C7A7-0C7F-47C6-AB86-2D84D75E0147}" dt="2022-11-01T02:17:09.516" v="1283"/>
          <ac:spMkLst>
            <pc:docMk/>
            <pc:sldMk cId="849356259" sldId="2444"/>
            <ac:spMk id="30" creationId="{6C839CA0-84F2-4101-9721-20A5629A3053}"/>
          </ac:spMkLst>
        </pc:spChg>
      </pc:sldChg>
      <pc:sldChg chg="addSp delSp modSp add mod">
        <pc:chgData name="Aurelien Domont" userId="6da7715ce44349b3" providerId="LiveId" clId="{9689C7A7-0C7F-47C6-AB86-2D84D75E0147}" dt="2022-11-01T03:08:00.735" v="2085" actId="113"/>
        <pc:sldMkLst>
          <pc:docMk/>
          <pc:sldMk cId="3546606410" sldId="2445"/>
        </pc:sldMkLst>
        <pc:spChg chg="mod">
          <ac:chgData name="Aurelien Domont" userId="6da7715ce44349b3" providerId="LiveId" clId="{9689C7A7-0C7F-47C6-AB86-2D84D75E0147}" dt="2022-11-01T03:08:00.735" v="2085" actId="113"/>
          <ac:spMkLst>
            <pc:docMk/>
            <pc:sldMk cId="3546606410" sldId="2445"/>
            <ac:spMk id="14" creationId="{C9800183-F524-4412-AB39-A6E1A21FF0B3}"/>
          </ac:spMkLst>
        </pc:spChg>
        <pc:spChg chg="del">
          <ac:chgData name="Aurelien Domont" userId="6da7715ce44349b3" providerId="LiveId" clId="{9689C7A7-0C7F-47C6-AB86-2D84D75E0147}" dt="2022-11-01T02:19:42.860" v="1337" actId="478"/>
          <ac:spMkLst>
            <pc:docMk/>
            <pc:sldMk cId="3546606410" sldId="2445"/>
            <ac:spMk id="33" creationId="{D5A6AC52-C2A2-DADE-3ECB-AD2ED9ED5A91}"/>
          </ac:spMkLst>
        </pc:spChg>
        <pc:spChg chg="del">
          <ac:chgData name="Aurelien Domont" userId="6da7715ce44349b3" providerId="LiveId" clId="{9689C7A7-0C7F-47C6-AB86-2D84D75E0147}" dt="2022-11-01T02:19:42.860" v="1337" actId="478"/>
          <ac:spMkLst>
            <pc:docMk/>
            <pc:sldMk cId="3546606410" sldId="2445"/>
            <ac:spMk id="34" creationId="{235D5B38-F367-4C5B-9672-B2FB1E5B5A49}"/>
          </ac:spMkLst>
        </pc:spChg>
        <pc:spChg chg="del">
          <ac:chgData name="Aurelien Domont" userId="6da7715ce44349b3" providerId="LiveId" clId="{9689C7A7-0C7F-47C6-AB86-2D84D75E0147}" dt="2022-11-01T02:19:42.860" v="1337" actId="478"/>
          <ac:spMkLst>
            <pc:docMk/>
            <pc:sldMk cId="3546606410" sldId="2445"/>
            <ac:spMk id="35" creationId="{D516E13F-F355-A51D-FF1F-5A0CE7CEC543}"/>
          </ac:spMkLst>
        </pc:spChg>
        <pc:spChg chg="del">
          <ac:chgData name="Aurelien Domont" userId="6da7715ce44349b3" providerId="LiveId" clId="{9689C7A7-0C7F-47C6-AB86-2D84D75E0147}" dt="2022-11-01T02:19:42.860" v="1337" actId="478"/>
          <ac:spMkLst>
            <pc:docMk/>
            <pc:sldMk cId="3546606410" sldId="2445"/>
            <ac:spMk id="36" creationId="{5AA07C1E-48C4-1E0C-630B-B2020239646C}"/>
          </ac:spMkLst>
        </pc:spChg>
        <pc:spChg chg="del">
          <ac:chgData name="Aurelien Domont" userId="6da7715ce44349b3" providerId="LiveId" clId="{9689C7A7-0C7F-47C6-AB86-2D84D75E0147}" dt="2022-11-01T02:19:42.860" v="1337" actId="478"/>
          <ac:spMkLst>
            <pc:docMk/>
            <pc:sldMk cId="3546606410" sldId="2445"/>
            <ac:spMk id="37" creationId="{4B209D9F-A9F7-4731-F6B7-EC5F4FB1C8FE}"/>
          </ac:spMkLst>
        </pc:spChg>
        <pc:spChg chg="del">
          <ac:chgData name="Aurelien Domont" userId="6da7715ce44349b3" providerId="LiveId" clId="{9689C7A7-0C7F-47C6-AB86-2D84D75E0147}" dt="2022-11-01T02:19:42.860" v="1337" actId="478"/>
          <ac:spMkLst>
            <pc:docMk/>
            <pc:sldMk cId="3546606410" sldId="2445"/>
            <ac:spMk id="38" creationId="{EAC5DC05-60D0-53E7-A75F-3756D9C4AD73}"/>
          </ac:spMkLst>
        </pc:spChg>
        <pc:spChg chg="del">
          <ac:chgData name="Aurelien Domont" userId="6da7715ce44349b3" providerId="LiveId" clId="{9689C7A7-0C7F-47C6-AB86-2D84D75E0147}" dt="2022-11-01T02:19:42.860" v="1337" actId="478"/>
          <ac:spMkLst>
            <pc:docMk/>
            <pc:sldMk cId="3546606410" sldId="2445"/>
            <ac:spMk id="39" creationId="{96E9603E-DAC3-637F-FDC6-D846DC1F283C}"/>
          </ac:spMkLst>
        </pc:spChg>
        <pc:spChg chg="del">
          <ac:chgData name="Aurelien Domont" userId="6da7715ce44349b3" providerId="LiveId" clId="{9689C7A7-0C7F-47C6-AB86-2D84D75E0147}" dt="2022-11-01T02:19:42.860" v="1337" actId="478"/>
          <ac:spMkLst>
            <pc:docMk/>
            <pc:sldMk cId="3546606410" sldId="2445"/>
            <ac:spMk id="40" creationId="{6266365D-EA30-1316-D3BD-796F473CB5CB}"/>
          </ac:spMkLst>
        </pc:spChg>
        <pc:spChg chg="del">
          <ac:chgData name="Aurelien Domont" userId="6da7715ce44349b3" providerId="LiveId" clId="{9689C7A7-0C7F-47C6-AB86-2D84D75E0147}" dt="2022-11-01T02:19:42.860" v="1337" actId="478"/>
          <ac:spMkLst>
            <pc:docMk/>
            <pc:sldMk cId="3546606410" sldId="2445"/>
            <ac:spMk id="41" creationId="{72ED1298-8126-E8B1-1175-01AFC2656F4E}"/>
          </ac:spMkLst>
        </pc:spChg>
        <pc:spChg chg="del">
          <ac:chgData name="Aurelien Domont" userId="6da7715ce44349b3" providerId="LiveId" clId="{9689C7A7-0C7F-47C6-AB86-2D84D75E0147}" dt="2022-11-01T02:19:42.860" v="1337" actId="478"/>
          <ac:spMkLst>
            <pc:docMk/>
            <pc:sldMk cId="3546606410" sldId="2445"/>
            <ac:spMk id="42" creationId="{D6338EF8-02DA-8D2B-7902-0DF151FB16CF}"/>
          </ac:spMkLst>
        </pc:spChg>
        <pc:spChg chg="del">
          <ac:chgData name="Aurelien Domont" userId="6da7715ce44349b3" providerId="LiveId" clId="{9689C7A7-0C7F-47C6-AB86-2D84D75E0147}" dt="2022-11-01T02:19:42.860" v="1337" actId="478"/>
          <ac:spMkLst>
            <pc:docMk/>
            <pc:sldMk cId="3546606410" sldId="2445"/>
            <ac:spMk id="43" creationId="{45697E78-04EB-43A8-1DEA-F3C4F51EB198}"/>
          </ac:spMkLst>
        </pc:spChg>
        <pc:spChg chg="del">
          <ac:chgData name="Aurelien Domont" userId="6da7715ce44349b3" providerId="LiveId" clId="{9689C7A7-0C7F-47C6-AB86-2D84D75E0147}" dt="2022-11-01T02:19:42.860" v="1337" actId="478"/>
          <ac:spMkLst>
            <pc:docMk/>
            <pc:sldMk cId="3546606410" sldId="2445"/>
            <ac:spMk id="44" creationId="{84FBB031-155E-5B7D-C0F8-12A9F3AFC9A6}"/>
          </ac:spMkLst>
        </pc:spChg>
        <pc:spChg chg="del">
          <ac:chgData name="Aurelien Domont" userId="6da7715ce44349b3" providerId="LiveId" clId="{9689C7A7-0C7F-47C6-AB86-2D84D75E0147}" dt="2022-11-01T02:19:42.860" v="1337" actId="478"/>
          <ac:spMkLst>
            <pc:docMk/>
            <pc:sldMk cId="3546606410" sldId="2445"/>
            <ac:spMk id="45" creationId="{AE53A706-E045-2075-AADB-5A2F52D4DD4B}"/>
          </ac:spMkLst>
        </pc:spChg>
        <pc:spChg chg="del">
          <ac:chgData name="Aurelien Domont" userId="6da7715ce44349b3" providerId="LiveId" clId="{9689C7A7-0C7F-47C6-AB86-2D84D75E0147}" dt="2022-11-01T02:19:42.860" v="1337" actId="478"/>
          <ac:spMkLst>
            <pc:docMk/>
            <pc:sldMk cId="3546606410" sldId="2445"/>
            <ac:spMk id="46" creationId="{334989D8-C898-EFD6-E478-DA7B8C78E01C}"/>
          </ac:spMkLst>
        </pc:spChg>
        <pc:spChg chg="del">
          <ac:chgData name="Aurelien Domont" userId="6da7715ce44349b3" providerId="LiveId" clId="{9689C7A7-0C7F-47C6-AB86-2D84D75E0147}" dt="2022-11-01T02:19:42.860" v="1337" actId="478"/>
          <ac:spMkLst>
            <pc:docMk/>
            <pc:sldMk cId="3546606410" sldId="2445"/>
            <ac:spMk id="47" creationId="{06F53F5B-A078-B0CC-423E-37A5FF4137F3}"/>
          </ac:spMkLst>
        </pc:spChg>
        <pc:spChg chg="del">
          <ac:chgData name="Aurelien Domont" userId="6da7715ce44349b3" providerId="LiveId" clId="{9689C7A7-0C7F-47C6-AB86-2D84D75E0147}" dt="2022-11-01T02:19:42.860" v="1337" actId="478"/>
          <ac:spMkLst>
            <pc:docMk/>
            <pc:sldMk cId="3546606410" sldId="2445"/>
            <ac:spMk id="48" creationId="{F144D59C-21ED-16A7-292C-65162CA9C60B}"/>
          </ac:spMkLst>
        </pc:spChg>
        <pc:spChg chg="del">
          <ac:chgData name="Aurelien Domont" userId="6da7715ce44349b3" providerId="LiveId" clId="{9689C7A7-0C7F-47C6-AB86-2D84D75E0147}" dt="2022-11-01T02:19:42.860" v="1337" actId="478"/>
          <ac:spMkLst>
            <pc:docMk/>
            <pc:sldMk cId="3546606410" sldId="2445"/>
            <ac:spMk id="49" creationId="{13B01C25-FD81-EE5B-1939-ED1E57F69FE7}"/>
          </ac:spMkLst>
        </pc:spChg>
        <pc:spChg chg="del">
          <ac:chgData name="Aurelien Domont" userId="6da7715ce44349b3" providerId="LiveId" clId="{9689C7A7-0C7F-47C6-AB86-2D84D75E0147}" dt="2022-11-01T02:19:42.860" v="1337" actId="478"/>
          <ac:spMkLst>
            <pc:docMk/>
            <pc:sldMk cId="3546606410" sldId="2445"/>
            <ac:spMk id="50" creationId="{535D168B-732B-3DD4-9AAA-EC154FF8926F}"/>
          </ac:spMkLst>
        </pc:spChg>
        <pc:spChg chg="del">
          <ac:chgData name="Aurelien Domont" userId="6da7715ce44349b3" providerId="LiveId" clId="{9689C7A7-0C7F-47C6-AB86-2D84D75E0147}" dt="2022-11-01T02:19:42.860" v="1337" actId="478"/>
          <ac:spMkLst>
            <pc:docMk/>
            <pc:sldMk cId="3546606410" sldId="2445"/>
            <ac:spMk id="51" creationId="{2F6694F7-3651-758D-AABF-8E90195875CF}"/>
          </ac:spMkLst>
        </pc:spChg>
        <pc:spChg chg="del">
          <ac:chgData name="Aurelien Domont" userId="6da7715ce44349b3" providerId="LiveId" clId="{9689C7A7-0C7F-47C6-AB86-2D84D75E0147}" dt="2022-11-01T02:19:42.860" v="1337" actId="478"/>
          <ac:spMkLst>
            <pc:docMk/>
            <pc:sldMk cId="3546606410" sldId="2445"/>
            <ac:spMk id="52" creationId="{23BDFB30-A98B-BF7F-75FE-B37DABF393B5}"/>
          </ac:spMkLst>
        </pc:spChg>
        <pc:spChg chg="del">
          <ac:chgData name="Aurelien Domont" userId="6da7715ce44349b3" providerId="LiveId" clId="{9689C7A7-0C7F-47C6-AB86-2D84D75E0147}" dt="2022-11-01T02:19:42.860" v="1337" actId="478"/>
          <ac:spMkLst>
            <pc:docMk/>
            <pc:sldMk cId="3546606410" sldId="2445"/>
            <ac:spMk id="53" creationId="{C70AF30C-FF2B-FCC9-6A33-A10783F8D1ED}"/>
          </ac:spMkLst>
        </pc:spChg>
        <pc:spChg chg="del">
          <ac:chgData name="Aurelien Domont" userId="6da7715ce44349b3" providerId="LiveId" clId="{9689C7A7-0C7F-47C6-AB86-2D84D75E0147}" dt="2022-11-01T02:19:42.860" v="1337" actId="478"/>
          <ac:spMkLst>
            <pc:docMk/>
            <pc:sldMk cId="3546606410" sldId="2445"/>
            <ac:spMk id="54" creationId="{50489C6C-B12C-03CB-5E42-DDBD6FD0DC2D}"/>
          </ac:spMkLst>
        </pc:spChg>
        <pc:spChg chg="del">
          <ac:chgData name="Aurelien Domont" userId="6da7715ce44349b3" providerId="LiveId" clId="{9689C7A7-0C7F-47C6-AB86-2D84D75E0147}" dt="2022-11-01T02:26:35.827" v="1490" actId="478"/>
          <ac:spMkLst>
            <pc:docMk/>
            <pc:sldMk cId="3546606410" sldId="2445"/>
            <ac:spMk id="55" creationId="{9FD6ACBB-D947-110F-6D90-7B499B90924F}"/>
          </ac:spMkLst>
        </pc:spChg>
        <pc:spChg chg="del mod">
          <ac:chgData name="Aurelien Domont" userId="6da7715ce44349b3" providerId="LiveId" clId="{9689C7A7-0C7F-47C6-AB86-2D84D75E0147}" dt="2022-11-01T02:23:45.943" v="1396" actId="478"/>
          <ac:spMkLst>
            <pc:docMk/>
            <pc:sldMk cId="3546606410" sldId="2445"/>
            <ac:spMk id="57" creationId="{FC61490D-6276-ECBB-3428-932FC7668C02}"/>
          </ac:spMkLst>
        </pc:spChg>
        <pc:spChg chg="mod topLvl">
          <ac:chgData name="Aurelien Domont" userId="6da7715ce44349b3" providerId="LiveId" clId="{9689C7A7-0C7F-47C6-AB86-2D84D75E0147}" dt="2022-11-01T02:30:54.944" v="1545" actId="20577"/>
          <ac:spMkLst>
            <pc:docMk/>
            <pc:sldMk cId="3546606410" sldId="2445"/>
            <ac:spMk id="58" creationId="{3947AD40-3E3D-68E6-4AE7-9F85DC6A6BBA}"/>
          </ac:spMkLst>
        </pc:spChg>
        <pc:spChg chg="mod topLvl">
          <ac:chgData name="Aurelien Domont" userId="6da7715ce44349b3" providerId="LiveId" clId="{9689C7A7-0C7F-47C6-AB86-2D84D75E0147}" dt="2022-11-01T02:33:23.008" v="1690" actId="20577"/>
          <ac:spMkLst>
            <pc:docMk/>
            <pc:sldMk cId="3546606410" sldId="2445"/>
            <ac:spMk id="59" creationId="{1D9B75F2-9F60-4DC8-7886-E0E019A353A0}"/>
          </ac:spMkLst>
        </pc:spChg>
        <pc:spChg chg="mod topLvl">
          <ac:chgData name="Aurelien Domont" userId="6da7715ce44349b3" providerId="LiveId" clId="{9689C7A7-0C7F-47C6-AB86-2D84D75E0147}" dt="2022-11-01T02:30:19.157" v="1535"/>
          <ac:spMkLst>
            <pc:docMk/>
            <pc:sldMk cId="3546606410" sldId="2445"/>
            <ac:spMk id="60" creationId="{89D648B1-09AB-4B9F-E067-367D8C466322}"/>
          </ac:spMkLst>
        </pc:spChg>
        <pc:spChg chg="mod topLvl">
          <ac:chgData name="Aurelien Domont" userId="6da7715ce44349b3" providerId="LiveId" clId="{9689C7A7-0C7F-47C6-AB86-2D84D75E0147}" dt="2022-11-01T02:30:13.995" v="1534"/>
          <ac:spMkLst>
            <pc:docMk/>
            <pc:sldMk cId="3546606410" sldId="2445"/>
            <ac:spMk id="61" creationId="{89EEEDAF-5C51-A1FB-FDC7-F6422A57B224}"/>
          </ac:spMkLst>
        </pc:spChg>
        <pc:spChg chg="mod topLvl">
          <ac:chgData name="Aurelien Domont" userId="6da7715ce44349b3" providerId="LiveId" clId="{9689C7A7-0C7F-47C6-AB86-2D84D75E0147}" dt="2022-11-01T02:29:56.322" v="1533" actId="20577"/>
          <ac:spMkLst>
            <pc:docMk/>
            <pc:sldMk cId="3546606410" sldId="2445"/>
            <ac:spMk id="62" creationId="{AFAE7584-7027-51BD-967E-C867206DEFCA}"/>
          </ac:spMkLst>
        </pc:spChg>
        <pc:spChg chg="mod topLvl">
          <ac:chgData name="Aurelien Domont" userId="6da7715ce44349b3" providerId="LiveId" clId="{9689C7A7-0C7F-47C6-AB86-2D84D75E0147}" dt="2022-11-01T02:29:44.158" v="1518" actId="14100"/>
          <ac:spMkLst>
            <pc:docMk/>
            <pc:sldMk cId="3546606410" sldId="2445"/>
            <ac:spMk id="63" creationId="{4E8EF82F-3E4A-496E-AFD0-174FCB017778}"/>
          </ac:spMkLst>
        </pc:spChg>
        <pc:spChg chg="mod topLvl">
          <ac:chgData name="Aurelien Domont" userId="6da7715ce44349b3" providerId="LiveId" clId="{9689C7A7-0C7F-47C6-AB86-2D84D75E0147}" dt="2022-11-01T02:29:44.158" v="1518" actId="14100"/>
          <ac:spMkLst>
            <pc:docMk/>
            <pc:sldMk cId="3546606410" sldId="2445"/>
            <ac:spMk id="64" creationId="{0B6055F1-2550-02EF-72AF-5C9932BDFD5B}"/>
          </ac:spMkLst>
        </pc:spChg>
        <pc:spChg chg="add mod topLvl">
          <ac:chgData name="Aurelien Domont" userId="6da7715ce44349b3" providerId="LiveId" clId="{9689C7A7-0C7F-47C6-AB86-2D84D75E0147}" dt="2022-11-01T02:36:18.085" v="1769" actId="6549"/>
          <ac:spMkLst>
            <pc:docMk/>
            <pc:sldMk cId="3546606410" sldId="2445"/>
            <ac:spMk id="65" creationId="{E8FD65DA-C75B-09C5-2063-1BAD79DE64AE}"/>
          </ac:spMkLst>
        </pc:spChg>
        <pc:spChg chg="add del mod">
          <ac:chgData name="Aurelien Domont" userId="6da7715ce44349b3" providerId="LiveId" clId="{9689C7A7-0C7F-47C6-AB86-2D84D75E0147}" dt="2022-11-01T02:21:09.816" v="1339" actId="478"/>
          <ac:spMkLst>
            <pc:docMk/>
            <pc:sldMk cId="3546606410" sldId="2445"/>
            <ac:spMk id="66" creationId="{AF4DE3F3-FA26-D36C-BCBB-3115C93A12F6}"/>
          </ac:spMkLst>
        </pc:spChg>
        <pc:spChg chg="add del mod">
          <ac:chgData name="Aurelien Domont" userId="6da7715ce44349b3" providerId="LiveId" clId="{9689C7A7-0C7F-47C6-AB86-2D84D75E0147}" dt="2022-11-01T02:21:09.816" v="1339" actId="478"/>
          <ac:spMkLst>
            <pc:docMk/>
            <pc:sldMk cId="3546606410" sldId="2445"/>
            <ac:spMk id="68" creationId="{9DDC5887-F5F1-FD81-2F1B-E8C59FC7D2BD}"/>
          </ac:spMkLst>
        </pc:spChg>
        <pc:spChg chg="add del mod">
          <ac:chgData name="Aurelien Domont" userId="6da7715ce44349b3" providerId="LiveId" clId="{9689C7A7-0C7F-47C6-AB86-2D84D75E0147}" dt="2022-11-01T02:24:38.004" v="1442" actId="478"/>
          <ac:spMkLst>
            <pc:docMk/>
            <pc:sldMk cId="3546606410" sldId="2445"/>
            <ac:spMk id="69" creationId="{0371A00E-E9A0-C965-6404-4501F95AAD90}"/>
          </ac:spMkLst>
        </pc:spChg>
        <pc:spChg chg="add del mod">
          <ac:chgData name="Aurelien Domont" userId="6da7715ce44349b3" providerId="LiveId" clId="{9689C7A7-0C7F-47C6-AB86-2D84D75E0147}" dt="2022-11-01T02:24:38.004" v="1442" actId="478"/>
          <ac:spMkLst>
            <pc:docMk/>
            <pc:sldMk cId="3546606410" sldId="2445"/>
            <ac:spMk id="70" creationId="{7B348AA6-C0F1-53EA-133D-E13A6BB54562}"/>
          </ac:spMkLst>
        </pc:spChg>
        <pc:spChg chg="add del mod">
          <ac:chgData name="Aurelien Domont" userId="6da7715ce44349b3" providerId="LiveId" clId="{9689C7A7-0C7F-47C6-AB86-2D84D75E0147}" dt="2022-11-01T02:24:38.004" v="1442" actId="478"/>
          <ac:spMkLst>
            <pc:docMk/>
            <pc:sldMk cId="3546606410" sldId="2445"/>
            <ac:spMk id="71" creationId="{49C68EF4-BD7A-C2AC-AA36-24AD909ED5A6}"/>
          </ac:spMkLst>
        </pc:spChg>
        <pc:spChg chg="add del mod">
          <ac:chgData name="Aurelien Domont" userId="6da7715ce44349b3" providerId="LiveId" clId="{9689C7A7-0C7F-47C6-AB86-2D84D75E0147}" dt="2022-11-01T02:24:38.004" v="1442" actId="478"/>
          <ac:spMkLst>
            <pc:docMk/>
            <pc:sldMk cId="3546606410" sldId="2445"/>
            <ac:spMk id="72" creationId="{AD2D49DA-BED2-3E5A-335D-D982BE1A437F}"/>
          </ac:spMkLst>
        </pc:spChg>
        <pc:spChg chg="add del mod">
          <ac:chgData name="Aurelien Domont" userId="6da7715ce44349b3" providerId="LiveId" clId="{9689C7A7-0C7F-47C6-AB86-2D84D75E0147}" dt="2022-11-01T02:24:38.004" v="1442" actId="478"/>
          <ac:spMkLst>
            <pc:docMk/>
            <pc:sldMk cId="3546606410" sldId="2445"/>
            <ac:spMk id="73" creationId="{A622D240-D6F9-7373-460D-94DB8041CBA4}"/>
          </ac:spMkLst>
        </pc:spChg>
        <pc:spChg chg="add del mod">
          <ac:chgData name="Aurelien Domont" userId="6da7715ce44349b3" providerId="LiveId" clId="{9689C7A7-0C7F-47C6-AB86-2D84D75E0147}" dt="2022-11-01T02:24:38.004" v="1442" actId="478"/>
          <ac:spMkLst>
            <pc:docMk/>
            <pc:sldMk cId="3546606410" sldId="2445"/>
            <ac:spMk id="74" creationId="{1F47C669-5DB7-EEFD-3809-B93C398D6058}"/>
          </ac:spMkLst>
        </pc:spChg>
        <pc:spChg chg="add del mod">
          <ac:chgData name="Aurelien Domont" userId="6da7715ce44349b3" providerId="LiveId" clId="{9689C7A7-0C7F-47C6-AB86-2D84D75E0147}" dt="2022-11-01T02:30:57.254" v="1546" actId="478"/>
          <ac:spMkLst>
            <pc:docMk/>
            <pc:sldMk cId="3546606410" sldId="2445"/>
            <ac:spMk id="76" creationId="{F6097693-7545-B6A8-3AB2-171A54665420}"/>
          </ac:spMkLst>
        </pc:spChg>
        <pc:spChg chg="add del mod">
          <ac:chgData name="Aurelien Domont" userId="6da7715ce44349b3" providerId="LiveId" clId="{9689C7A7-0C7F-47C6-AB86-2D84D75E0147}" dt="2022-11-01T02:30:57.254" v="1546" actId="478"/>
          <ac:spMkLst>
            <pc:docMk/>
            <pc:sldMk cId="3546606410" sldId="2445"/>
            <ac:spMk id="77" creationId="{0DD8C89C-3569-6595-0300-A6EC38CF1832}"/>
          </ac:spMkLst>
        </pc:spChg>
        <pc:spChg chg="add del mod">
          <ac:chgData name="Aurelien Domont" userId="6da7715ce44349b3" providerId="LiveId" clId="{9689C7A7-0C7F-47C6-AB86-2D84D75E0147}" dt="2022-11-01T02:30:57.254" v="1546" actId="478"/>
          <ac:spMkLst>
            <pc:docMk/>
            <pc:sldMk cId="3546606410" sldId="2445"/>
            <ac:spMk id="78" creationId="{8AA367B8-1F4A-EA02-1A0C-A3975A388C7B}"/>
          </ac:spMkLst>
        </pc:spChg>
        <pc:spChg chg="add del mod">
          <ac:chgData name="Aurelien Domont" userId="6da7715ce44349b3" providerId="LiveId" clId="{9689C7A7-0C7F-47C6-AB86-2D84D75E0147}" dt="2022-11-01T02:30:57.254" v="1546" actId="478"/>
          <ac:spMkLst>
            <pc:docMk/>
            <pc:sldMk cId="3546606410" sldId="2445"/>
            <ac:spMk id="79" creationId="{B9668972-73A7-E558-CB14-CCB863260D79}"/>
          </ac:spMkLst>
        </pc:spChg>
        <pc:spChg chg="add del mod">
          <ac:chgData name="Aurelien Domont" userId="6da7715ce44349b3" providerId="LiveId" clId="{9689C7A7-0C7F-47C6-AB86-2D84D75E0147}" dt="2022-11-01T02:30:57.254" v="1546" actId="478"/>
          <ac:spMkLst>
            <pc:docMk/>
            <pc:sldMk cId="3546606410" sldId="2445"/>
            <ac:spMk id="80" creationId="{AD8A402E-E004-72D4-5BFE-BB7C7D453036}"/>
          </ac:spMkLst>
        </pc:spChg>
        <pc:spChg chg="add del mod">
          <ac:chgData name="Aurelien Domont" userId="6da7715ce44349b3" providerId="LiveId" clId="{9689C7A7-0C7F-47C6-AB86-2D84D75E0147}" dt="2022-11-01T02:30:57.254" v="1546" actId="478"/>
          <ac:spMkLst>
            <pc:docMk/>
            <pc:sldMk cId="3546606410" sldId="2445"/>
            <ac:spMk id="81" creationId="{8FB6998E-DD8E-02E0-F52B-44B91E74CB55}"/>
          </ac:spMkLst>
        </pc:spChg>
        <pc:grpChg chg="add del mod topLvl">
          <ac:chgData name="Aurelien Domont" userId="6da7715ce44349b3" providerId="LiveId" clId="{9689C7A7-0C7F-47C6-AB86-2D84D75E0147}" dt="2022-11-01T02:25:05.269" v="1445" actId="165"/>
          <ac:grpSpMkLst>
            <pc:docMk/>
            <pc:sldMk cId="3546606410" sldId="2445"/>
            <ac:grpSpMk id="56" creationId="{3225B7EC-EE69-8A1F-8952-A1405AB0F048}"/>
          </ac:grpSpMkLst>
        </pc:grpChg>
        <pc:grpChg chg="add del mod">
          <ac:chgData name="Aurelien Domont" userId="6da7715ce44349b3" providerId="LiveId" clId="{9689C7A7-0C7F-47C6-AB86-2D84D75E0147}" dt="2022-11-01T02:24:44.638" v="1443" actId="165"/>
          <ac:grpSpMkLst>
            <pc:docMk/>
            <pc:sldMk cId="3546606410" sldId="2445"/>
            <ac:grpSpMk id="75" creationId="{8EEB6CCD-262D-3D04-6C2F-8FC872ABA959}"/>
          </ac:grpSpMkLst>
        </pc:grpChg>
        <pc:graphicFrameChg chg="add del mod">
          <ac:chgData name="Aurelien Domont" userId="6da7715ce44349b3" providerId="LiveId" clId="{9689C7A7-0C7F-47C6-AB86-2D84D75E0147}" dt="2022-11-01T02:21:09.816" v="1339" actId="478"/>
          <ac:graphicFrameMkLst>
            <pc:docMk/>
            <pc:sldMk cId="3546606410" sldId="2445"/>
            <ac:graphicFrameMk id="67" creationId="{7BD94241-F67C-37DE-5BBB-874139859008}"/>
          </ac:graphicFrameMkLst>
        </pc:graphicFrameChg>
        <pc:cxnChg chg="del">
          <ac:chgData name="Aurelien Domont" userId="6da7715ce44349b3" providerId="LiveId" clId="{9689C7A7-0C7F-47C6-AB86-2D84D75E0147}" dt="2022-11-01T02:19:42.860" v="1337" actId="478"/>
          <ac:cxnSpMkLst>
            <pc:docMk/>
            <pc:sldMk cId="3546606410" sldId="2445"/>
            <ac:cxnSpMk id="3" creationId="{00653970-4820-1EC3-5E87-C25DA90E5F08}"/>
          </ac:cxnSpMkLst>
        </pc:cxnChg>
        <pc:cxnChg chg="del">
          <ac:chgData name="Aurelien Domont" userId="6da7715ce44349b3" providerId="LiveId" clId="{9689C7A7-0C7F-47C6-AB86-2D84D75E0147}" dt="2022-11-01T02:19:42.860" v="1337" actId="478"/>
          <ac:cxnSpMkLst>
            <pc:docMk/>
            <pc:sldMk cId="3546606410" sldId="2445"/>
            <ac:cxnSpMk id="4" creationId="{454177C9-9D3A-CAB1-BCDA-EE9476B0FA94}"/>
          </ac:cxnSpMkLst>
        </pc:cxnChg>
        <pc:cxnChg chg="del">
          <ac:chgData name="Aurelien Domont" userId="6da7715ce44349b3" providerId="LiveId" clId="{9689C7A7-0C7F-47C6-AB86-2D84D75E0147}" dt="2022-11-01T02:19:42.860" v="1337" actId="478"/>
          <ac:cxnSpMkLst>
            <pc:docMk/>
            <pc:sldMk cId="3546606410" sldId="2445"/>
            <ac:cxnSpMk id="5" creationId="{25488F29-1ECF-9ABE-E4D3-009AC2C583B1}"/>
          </ac:cxnSpMkLst>
        </pc:cxnChg>
        <pc:cxnChg chg="del">
          <ac:chgData name="Aurelien Domont" userId="6da7715ce44349b3" providerId="LiveId" clId="{9689C7A7-0C7F-47C6-AB86-2D84D75E0147}" dt="2022-11-01T02:19:42.860" v="1337" actId="478"/>
          <ac:cxnSpMkLst>
            <pc:docMk/>
            <pc:sldMk cId="3546606410" sldId="2445"/>
            <ac:cxnSpMk id="6" creationId="{1641E33D-0761-16C7-DC46-0FFEC20DACFA}"/>
          </ac:cxnSpMkLst>
        </pc:cxnChg>
        <pc:cxnChg chg="del">
          <ac:chgData name="Aurelien Domont" userId="6da7715ce44349b3" providerId="LiveId" clId="{9689C7A7-0C7F-47C6-AB86-2D84D75E0147}" dt="2022-11-01T02:19:42.860" v="1337" actId="478"/>
          <ac:cxnSpMkLst>
            <pc:docMk/>
            <pc:sldMk cId="3546606410" sldId="2445"/>
            <ac:cxnSpMk id="7" creationId="{BD730493-9782-0389-CADD-26FDB5BBAFBB}"/>
          </ac:cxnSpMkLst>
        </pc:cxnChg>
        <pc:cxnChg chg="del">
          <ac:chgData name="Aurelien Domont" userId="6da7715ce44349b3" providerId="LiveId" clId="{9689C7A7-0C7F-47C6-AB86-2D84D75E0147}" dt="2022-11-01T02:19:42.860" v="1337" actId="478"/>
          <ac:cxnSpMkLst>
            <pc:docMk/>
            <pc:sldMk cId="3546606410" sldId="2445"/>
            <ac:cxnSpMk id="8" creationId="{018DBA89-9C7C-3519-58A5-F7580CC15ACC}"/>
          </ac:cxnSpMkLst>
        </pc:cxnChg>
        <pc:cxnChg chg="del">
          <ac:chgData name="Aurelien Domont" userId="6da7715ce44349b3" providerId="LiveId" clId="{9689C7A7-0C7F-47C6-AB86-2D84D75E0147}" dt="2022-11-01T02:19:42.860" v="1337" actId="478"/>
          <ac:cxnSpMkLst>
            <pc:docMk/>
            <pc:sldMk cId="3546606410" sldId="2445"/>
            <ac:cxnSpMk id="9" creationId="{9702E748-1EBB-FC36-F9B2-1AFD28E8124A}"/>
          </ac:cxnSpMkLst>
        </pc:cxnChg>
        <pc:cxnChg chg="del">
          <ac:chgData name="Aurelien Domont" userId="6da7715ce44349b3" providerId="LiveId" clId="{9689C7A7-0C7F-47C6-AB86-2D84D75E0147}" dt="2022-11-01T02:19:42.860" v="1337" actId="478"/>
          <ac:cxnSpMkLst>
            <pc:docMk/>
            <pc:sldMk cId="3546606410" sldId="2445"/>
            <ac:cxnSpMk id="10" creationId="{845F71CE-0A3B-5D17-109D-1F334877B423}"/>
          </ac:cxnSpMkLst>
        </pc:cxnChg>
        <pc:cxnChg chg="del">
          <ac:chgData name="Aurelien Domont" userId="6da7715ce44349b3" providerId="LiveId" clId="{9689C7A7-0C7F-47C6-AB86-2D84D75E0147}" dt="2022-11-01T02:19:42.860" v="1337" actId="478"/>
          <ac:cxnSpMkLst>
            <pc:docMk/>
            <pc:sldMk cId="3546606410" sldId="2445"/>
            <ac:cxnSpMk id="11" creationId="{592EF123-E7C5-40A9-155F-27BF371CF7B7}"/>
          </ac:cxnSpMkLst>
        </pc:cxnChg>
        <pc:cxnChg chg="del">
          <ac:chgData name="Aurelien Domont" userId="6da7715ce44349b3" providerId="LiveId" clId="{9689C7A7-0C7F-47C6-AB86-2D84D75E0147}" dt="2022-11-01T02:19:42.860" v="1337" actId="478"/>
          <ac:cxnSpMkLst>
            <pc:docMk/>
            <pc:sldMk cId="3546606410" sldId="2445"/>
            <ac:cxnSpMk id="12" creationId="{6308F332-E6A3-850C-80EC-9798CF087886}"/>
          </ac:cxnSpMkLst>
        </pc:cxnChg>
        <pc:cxnChg chg="del">
          <ac:chgData name="Aurelien Domont" userId="6da7715ce44349b3" providerId="LiveId" clId="{9689C7A7-0C7F-47C6-AB86-2D84D75E0147}" dt="2022-11-01T02:19:42.860" v="1337" actId="478"/>
          <ac:cxnSpMkLst>
            <pc:docMk/>
            <pc:sldMk cId="3546606410" sldId="2445"/>
            <ac:cxnSpMk id="13" creationId="{6E0B52E5-E9C0-367E-11D4-B4E4916413A8}"/>
          </ac:cxnSpMkLst>
        </pc:cxnChg>
        <pc:cxnChg chg="del">
          <ac:chgData name="Aurelien Domont" userId="6da7715ce44349b3" providerId="LiveId" clId="{9689C7A7-0C7F-47C6-AB86-2D84D75E0147}" dt="2022-11-01T02:19:42.860" v="1337" actId="478"/>
          <ac:cxnSpMkLst>
            <pc:docMk/>
            <pc:sldMk cId="3546606410" sldId="2445"/>
            <ac:cxnSpMk id="15" creationId="{F063A3A5-416E-6EBA-18E4-62AD77419D46}"/>
          </ac:cxnSpMkLst>
        </pc:cxnChg>
        <pc:cxnChg chg="del">
          <ac:chgData name="Aurelien Domont" userId="6da7715ce44349b3" providerId="LiveId" clId="{9689C7A7-0C7F-47C6-AB86-2D84D75E0147}" dt="2022-11-01T02:19:42.860" v="1337" actId="478"/>
          <ac:cxnSpMkLst>
            <pc:docMk/>
            <pc:sldMk cId="3546606410" sldId="2445"/>
            <ac:cxnSpMk id="18" creationId="{F86E2931-880C-7A89-B254-06E652C544AE}"/>
          </ac:cxnSpMkLst>
        </pc:cxnChg>
        <pc:cxnChg chg="del">
          <ac:chgData name="Aurelien Domont" userId="6da7715ce44349b3" providerId="LiveId" clId="{9689C7A7-0C7F-47C6-AB86-2D84D75E0147}" dt="2022-11-01T02:19:42.860" v="1337" actId="478"/>
          <ac:cxnSpMkLst>
            <pc:docMk/>
            <pc:sldMk cId="3546606410" sldId="2445"/>
            <ac:cxnSpMk id="19" creationId="{063D682B-215F-0961-7B92-48ADEC2C788C}"/>
          </ac:cxnSpMkLst>
        </pc:cxnChg>
        <pc:cxnChg chg="del">
          <ac:chgData name="Aurelien Domont" userId="6da7715ce44349b3" providerId="LiveId" clId="{9689C7A7-0C7F-47C6-AB86-2D84D75E0147}" dt="2022-11-01T02:19:42.860" v="1337" actId="478"/>
          <ac:cxnSpMkLst>
            <pc:docMk/>
            <pc:sldMk cId="3546606410" sldId="2445"/>
            <ac:cxnSpMk id="20" creationId="{0E7C6731-A3E2-32B9-9B0F-05D010751D02}"/>
          </ac:cxnSpMkLst>
        </pc:cxnChg>
        <pc:cxnChg chg="del">
          <ac:chgData name="Aurelien Domont" userId="6da7715ce44349b3" providerId="LiveId" clId="{9689C7A7-0C7F-47C6-AB86-2D84D75E0147}" dt="2022-11-01T02:19:42.860" v="1337" actId="478"/>
          <ac:cxnSpMkLst>
            <pc:docMk/>
            <pc:sldMk cId="3546606410" sldId="2445"/>
            <ac:cxnSpMk id="21" creationId="{D5447023-2F2D-7DA4-77D7-21CD252F6011}"/>
          </ac:cxnSpMkLst>
        </pc:cxnChg>
        <pc:cxnChg chg="del">
          <ac:chgData name="Aurelien Domont" userId="6da7715ce44349b3" providerId="LiveId" clId="{9689C7A7-0C7F-47C6-AB86-2D84D75E0147}" dt="2022-11-01T02:19:42.860" v="1337" actId="478"/>
          <ac:cxnSpMkLst>
            <pc:docMk/>
            <pc:sldMk cId="3546606410" sldId="2445"/>
            <ac:cxnSpMk id="22" creationId="{80C637A5-D7C2-D636-B6E5-D9F42B1B156C}"/>
          </ac:cxnSpMkLst>
        </pc:cxnChg>
        <pc:cxnChg chg="del">
          <ac:chgData name="Aurelien Domont" userId="6da7715ce44349b3" providerId="LiveId" clId="{9689C7A7-0C7F-47C6-AB86-2D84D75E0147}" dt="2022-11-01T02:19:42.860" v="1337" actId="478"/>
          <ac:cxnSpMkLst>
            <pc:docMk/>
            <pc:sldMk cId="3546606410" sldId="2445"/>
            <ac:cxnSpMk id="23" creationId="{552C4E93-9401-C796-BA57-B4B23F328324}"/>
          </ac:cxnSpMkLst>
        </pc:cxnChg>
        <pc:cxnChg chg="del">
          <ac:chgData name="Aurelien Domont" userId="6da7715ce44349b3" providerId="LiveId" clId="{9689C7A7-0C7F-47C6-AB86-2D84D75E0147}" dt="2022-11-01T02:19:42.860" v="1337" actId="478"/>
          <ac:cxnSpMkLst>
            <pc:docMk/>
            <pc:sldMk cId="3546606410" sldId="2445"/>
            <ac:cxnSpMk id="24" creationId="{4C067925-F7D2-58A3-3DAA-8EE541356E8A}"/>
          </ac:cxnSpMkLst>
        </pc:cxnChg>
        <pc:cxnChg chg="del">
          <ac:chgData name="Aurelien Domont" userId="6da7715ce44349b3" providerId="LiveId" clId="{9689C7A7-0C7F-47C6-AB86-2D84D75E0147}" dt="2022-11-01T02:19:42.860" v="1337" actId="478"/>
          <ac:cxnSpMkLst>
            <pc:docMk/>
            <pc:sldMk cId="3546606410" sldId="2445"/>
            <ac:cxnSpMk id="25" creationId="{7F4D8799-3C04-D8D5-FDBB-0E3B7E6E0D4B}"/>
          </ac:cxnSpMkLst>
        </pc:cxnChg>
        <pc:cxnChg chg="del">
          <ac:chgData name="Aurelien Domont" userId="6da7715ce44349b3" providerId="LiveId" clId="{9689C7A7-0C7F-47C6-AB86-2D84D75E0147}" dt="2022-11-01T02:19:42.860" v="1337" actId="478"/>
          <ac:cxnSpMkLst>
            <pc:docMk/>
            <pc:sldMk cId="3546606410" sldId="2445"/>
            <ac:cxnSpMk id="26" creationId="{B8F0D0A6-17D0-1643-A34F-55B682FA1894}"/>
          </ac:cxnSpMkLst>
        </pc:cxnChg>
        <pc:cxnChg chg="del">
          <ac:chgData name="Aurelien Domont" userId="6da7715ce44349b3" providerId="LiveId" clId="{9689C7A7-0C7F-47C6-AB86-2D84D75E0147}" dt="2022-11-01T02:19:42.860" v="1337" actId="478"/>
          <ac:cxnSpMkLst>
            <pc:docMk/>
            <pc:sldMk cId="3546606410" sldId="2445"/>
            <ac:cxnSpMk id="27" creationId="{A3C19CB7-6A86-9D52-E795-3797ADE58AA1}"/>
          </ac:cxnSpMkLst>
        </pc:cxnChg>
        <pc:cxnChg chg="del">
          <ac:chgData name="Aurelien Domont" userId="6da7715ce44349b3" providerId="LiveId" clId="{9689C7A7-0C7F-47C6-AB86-2D84D75E0147}" dt="2022-11-01T02:19:42.860" v="1337" actId="478"/>
          <ac:cxnSpMkLst>
            <pc:docMk/>
            <pc:sldMk cId="3546606410" sldId="2445"/>
            <ac:cxnSpMk id="28" creationId="{B640C04E-4757-670B-4D26-4F8F4BAC23B8}"/>
          </ac:cxnSpMkLst>
        </pc:cxnChg>
        <pc:cxnChg chg="del">
          <ac:chgData name="Aurelien Domont" userId="6da7715ce44349b3" providerId="LiveId" clId="{9689C7A7-0C7F-47C6-AB86-2D84D75E0147}" dt="2022-11-01T02:19:42.860" v="1337" actId="478"/>
          <ac:cxnSpMkLst>
            <pc:docMk/>
            <pc:sldMk cId="3546606410" sldId="2445"/>
            <ac:cxnSpMk id="29" creationId="{A9390556-8BCC-E698-149C-DDE70FF0264A}"/>
          </ac:cxnSpMkLst>
        </pc:cxnChg>
        <pc:cxnChg chg="del">
          <ac:chgData name="Aurelien Domont" userId="6da7715ce44349b3" providerId="LiveId" clId="{9689C7A7-0C7F-47C6-AB86-2D84D75E0147}" dt="2022-11-01T02:19:42.860" v="1337" actId="478"/>
          <ac:cxnSpMkLst>
            <pc:docMk/>
            <pc:sldMk cId="3546606410" sldId="2445"/>
            <ac:cxnSpMk id="30" creationId="{B310A21D-FCCC-9F1A-64E0-B0E8DB3B7EC4}"/>
          </ac:cxnSpMkLst>
        </pc:cxnChg>
        <pc:cxnChg chg="del">
          <ac:chgData name="Aurelien Domont" userId="6da7715ce44349b3" providerId="LiveId" clId="{9689C7A7-0C7F-47C6-AB86-2D84D75E0147}" dt="2022-11-01T02:19:42.860" v="1337" actId="478"/>
          <ac:cxnSpMkLst>
            <pc:docMk/>
            <pc:sldMk cId="3546606410" sldId="2445"/>
            <ac:cxnSpMk id="31" creationId="{2511BBD7-E008-94C4-4FF2-7A594F66153F}"/>
          </ac:cxnSpMkLst>
        </pc:cxnChg>
        <pc:cxnChg chg="del">
          <ac:chgData name="Aurelien Domont" userId="6da7715ce44349b3" providerId="LiveId" clId="{9689C7A7-0C7F-47C6-AB86-2D84D75E0147}" dt="2022-11-01T02:19:42.860" v="1337" actId="478"/>
          <ac:cxnSpMkLst>
            <pc:docMk/>
            <pc:sldMk cId="3546606410" sldId="2445"/>
            <ac:cxnSpMk id="32" creationId="{3E738938-0F84-5FC7-7CEB-2AC6AE881787}"/>
          </ac:cxnSpMkLst>
        </pc:cxnChg>
      </pc:sldChg>
      <pc:sldChg chg="addSp modSp add del mod">
        <pc:chgData name="Aurelien Domont" userId="6da7715ce44349b3" providerId="LiveId" clId="{9689C7A7-0C7F-47C6-AB86-2D84D75E0147}" dt="2022-11-01T02:32:57.520" v="1678" actId="47"/>
        <pc:sldMkLst>
          <pc:docMk/>
          <pc:sldMk cId="2004401529" sldId="2446"/>
        </pc:sldMkLst>
        <pc:spChg chg="add mod">
          <ac:chgData name="Aurelien Domont" userId="6da7715ce44349b3" providerId="LiveId" clId="{9689C7A7-0C7F-47C6-AB86-2D84D75E0147}" dt="2022-11-01T02:27:12.468" v="1494" actId="1076"/>
          <ac:spMkLst>
            <pc:docMk/>
            <pc:sldMk cId="2004401529" sldId="2446"/>
            <ac:spMk id="3" creationId="{A8DF937A-05EC-DBCB-CA1C-C26BD3C1C773}"/>
          </ac:spMkLst>
        </pc:spChg>
        <pc:spChg chg="mod">
          <ac:chgData name="Aurelien Domont" userId="6da7715ce44349b3" providerId="LiveId" clId="{9689C7A7-0C7F-47C6-AB86-2D84D75E0147}" dt="2022-11-01T02:28:50.924" v="1513" actId="113"/>
          <ac:spMkLst>
            <pc:docMk/>
            <pc:sldMk cId="2004401529" sldId="2446"/>
            <ac:spMk id="65" creationId="{E8FD65DA-C75B-09C5-2063-1BAD79DE64AE}"/>
          </ac:spMkLst>
        </pc:spChg>
      </pc:sldChg>
      <pc:sldChg chg="addSp delSp modSp add mod ord">
        <pc:chgData name="Aurelien Domont" userId="6da7715ce44349b3" providerId="LiveId" clId="{9689C7A7-0C7F-47C6-AB86-2D84D75E0147}" dt="2022-11-01T03:08:21.262" v="2091"/>
        <pc:sldMkLst>
          <pc:docMk/>
          <pc:sldMk cId="2277262570" sldId="2446"/>
        </pc:sldMkLst>
        <pc:spChg chg="add mod">
          <ac:chgData name="Aurelien Domont" userId="6da7715ce44349b3" providerId="LiveId" clId="{9689C7A7-0C7F-47C6-AB86-2D84D75E0147}" dt="2022-11-01T02:36:28.235" v="1770"/>
          <ac:spMkLst>
            <pc:docMk/>
            <pc:sldMk cId="2277262570" sldId="2446"/>
            <ac:spMk id="4" creationId="{CAD2B49D-8AA9-C193-9936-E1B870B2970C}"/>
          </ac:spMkLst>
        </pc:spChg>
        <pc:spChg chg="mod">
          <ac:chgData name="Aurelien Domont" userId="6da7715ce44349b3" providerId="LiveId" clId="{9689C7A7-0C7F-47C6-AB86-2D84D75E0147}" dt="2022-11-01T03:08:21.262" v="2091"/>
          <ac:spMkLst>
            <pc:docMk/>
            <pc:sldMk cId="2277262570" sldId="2446"/>
            <ac:spMk id="14" creationId="{C9800183-F524-4412-AB39-A6E1A21FF0B3}"/>
          </ac:spMkLst>
        </pc:spChg>
        <pc:spChg chg="mod">
          <ac:chgData name="Aurelien Domont" userId="6da7715ce44349b3" providerId="LiveId" clId="{9689C7A7-0C7F-47C6-AB86-2D84D75E0147}" dt="2022-11-01T02:33:38.481" v="1693" actId="20577"/>
          <ac:spMkLst>
            <pc:docMk/>
            <pc:sldMk cId="2277262570" sldId="2446"/>
            <ac:spMk id="59" creationId="{1D9B75F2-9F60-4DC8-7886-E0E019A353A0}"/>
          </ac:spMkLst>
        </pc:spChg>
        <pc:spChg chg="mod">
          <ac:chgData name="Aurelien Domont" userId="6da7715ce44349b3" providerId="LiveId" clId="{9689C7A7-0C7F-47C6-AB86-2D84D75E0147}" dt="2022-11-01T02:34:04.205" v="1694" actId="108"/>
          <ac:spMkLst>
            <pc:docMk/>
            <pc:sldMk cId="2277262570" sldId="2446"/>
            <ac:spMk id="64" creationId="{0B6055F1-2550-02EF-72AF-5C9932BDFD5B}"/>
          </ac:spMkLst>
        </pc:spChg>
        <pc:spChg chg="mod">
          <ac:chgData name="Aurelien Domont" userId="6da7715ce44349b3" providerId="LiveId" clId="{9689C7A7-0C7F-47C6-AB86-2D84D75E0147}" dt="2022-11-01T02:36:14.127" v="1768" actId="6549"/>
          <ac:spMkLst>
            <pc:docMk/>
            <pc:sldMk cId="2277262570" sldId="2446"/>
            <ac:spMk id="65" creationId="{E8FD65DA-C75B-09C5-2063-1BAD79DE64AE}"/>
          </ac:spMkLst>
        </pc:spChg>
        <pc:picChg chg="add del">
          <ac:chgData name="Aurelien Domont" userId="6da7715ce44349b3" providerId="LiveId" clId="{9689C7A7-0C7F-47C6-AB86-2D84D75E0147}" dt="2022-11-01T02:34:44.418" v="1735" actId="478"/>
          <ac:picMkLst>
            <pc:docMk/>
            <pc:sldMk cId="2277262570" sldId="2446"/>
            <ac:picMk id="3" creationId="{08B6A9B3-736A-93B7-FEF7-FAD05C9B11E6}"/>
          </ac:picMkLst>
        </pc:picChg>
      </pc:sldChg>
      <pc:sldChg chg="modSp add del mod">
        <pc:chgData name="Aurelien Domont" userId="6da7715ce44349b3" providerId="LiveId" clId="{9689C7A7-0C7F-47C6-AB86-2D84D75E0147}" dt="2022-11-01T02:36:58.870" v="1774" actId="2696"/>
        <pc:sldMkLst>
          <pc:docMk/>
          <pc:sldMk cId="597827902" sldId="2447"/>
        </pc:sldMkLst>
        <pc:spChg chg="mod">
          <ac:chgData name="Aurelien Domont" userId="6da7715ce44349b3" providerId="LiveId" clId="{9689C7A7-0C7F-47C6-AB86-2D84D75E0147}" dt="2022-11-01T02:36:51.784" v="1773" actId="108"/>
          <ac:spMkLst>
            <pc:docMk/>
            <pc:sldMk cId="597827902" sldId="2447"/>
            <ac:spMk id="63" creationId="{4E8EF82F-3E4A-496E-AFD0-174FCB017778}"/>
          </ac:spMkLst>
        </pc:spChg>
        <pc:spChg chg="mod">
          <ac:chgData name="Aurelien Domont" userId="6da7715ce44349b3" providerId="LiveId" clId="{9689C7A7-0C7F-47C6-AB86-2D84D75E0147}" dt="2022-11-01T02:36:49.116" v="1772" actId="108"/>
          <ac:spMkLst>
            <pc:docMk/>
            <pc:sldMk cId="597827902" sldId="2447"/>
            <ac:spMk id="64" creationId="{0B6055F1-2550-02EF-72AF-5C9932BDFD5B}"/>
          </ac:spMkLst>
        </pc:spChg>
      </pc:sldChg>
      <pc:sldChg chg="modSp add mod ord">
        <pc:chgData name="Aurelien Domont" userId="6da7715ce44349b3" providerId="LiveId" clId="{9689C7A7-0C7F-47C6-AB86-2D84D75E0147}" dt="2022-11-01T03:08:07.929" v="2086"/>
        <pc:sldMkLst>
          <pc:docMk/>
          <pc:sldMk cId="652277943" sldId="2447"/>
        </pc:sldMkLst>
        <pc:spChg chg="mod">
          <ac:chgData name="Aurelien Domont" userId="6da7715ce44349b3" providerId="LiveId" clId="{9689C7A7-0C7F-47C6-AB86-2D84D75E0147}" dt="2022-11-01T03:08:07.929" v="2086"/>
          <ac:spMkLst>
            <pc:docMk/>
            <pc:sldMk cId="652277943" sldId="2447"/>
            <ac:spMk id="14" creationId="{C9800183-F524-4412-AB39-A6E1A21FF0B3}"/>
          </ac:spMkLst>
        </pc:spChg>
        <pc:spChg chg="mod">
          <ac:chgData name="Aurelien Domont" userId="6da7715ce44349b3" providerId="LiveId" clId="{9689C7A7-0C7F-47C6-AB86-2D84D75E0147}" dt="2022-11-01T02:37:24.818" v="1781" actId="20577"/>
          <ac:spMkLst>
            <pc:docMk/>
            <pc:sldMk cId="652277943" sldId="2447"/>
            <ac:spMk id="63" creationId="{4E8EF82F-3E4A-496E-AFD0-174FCB017778}"/>
          </ac:spMkLst>
        </pc:spChg>
        <pc:spChg chg="mod">
          <ac:chgData name="Aurelien Domont" userId="6da7715ce44349b3" providerId="LiveId" clId="{9689C7A7-0C7F-47C6-AB86-2D84D75E0147}" dt="2022-11-01T02:37:22.585" v="1779" actId="108"/>
          <ac:spMkLst>
            <pc:docMk/>
            <pc:sldMk cId="652277943" sldId="2447"/>
            <ac:spMk id="64" creationId="{0B6055F1-2550-02EF-72AF-5C9932BDFD5B}"/>
          </ac:spMkLst>
        </pc:spChg>
      </pc:sldChg>
      <pc:sldChg chg="add del">
        <pc:chgData name="Aurelien Domont" userId="6da7715ce44349b3" providerId="LiveId" clId="{9689C7A7-0C7F-47C6-AB86-2D84D75E0147}" dt="2022-11-01T02:34:49.578" v="1738"/>
        <pc:sldMkLst>
          <pc:docMk/>
          <pc:sldMk cId="2514578996" sldId="2447"/>
        </pc:sldMkLst>
      </pc:sldChg>
      <pc:sldChg chg="modSp add mod">
        <pc:chgData name="Aurelien Domont" userId="6da7715ce44349b3" providerId="LiveId" clId="{9689C7A7-0C7F-47C6-AB86-2D84D75E0147}" dt="2022-11-01T03:08:10.045" v="2087"/>
        <pc:sldMkLst>
          <pc:docMk/>
          <pc:sldMk cId="1863019518" sldId="2448"/>
        </pc:sldMkLst>
        <pc:spChg chg="mod">
          <ac:chgData name="Aurelien Domont" userId="6da7715ce44349b3" providerId="LiveId" clId="{9689C7A7-0C7F-47C6-AB86-2D84D75E0147}" dt="2022-11-01T03:08:10.045" v="2087"/>
          <ac:spMkLst>
            <pc:docMk/>
            <pc:sldMk cId="1863019518" sldId="2448"/>
            <ac:spMk id="14" creationId="{C9800183-F524-4412-AB39-A6E1A21FF0B3}"/>
          </ac:spMkLst>
        </pc:spChg>
        <pc:spChg chg="mod">
          <ac:chgData name="Aurelien Domont" userId="6da7715ce44349b3" providerId="LiveId" clId="{9689C7A7-0C7F-47C6-AB86-2D84D75E0147}" dt="2022-11-01T02:37:45.588" v="1788" actId="6549"/>
          <ac:spMkLst>
            <pc:docMk/>
            <pc:sldMk cId="1863019518" sldId="2448"/>
            <ac:spMk id="62" creationId="{AFAE7584-7027-51BD-967E-C867206DEFCA}"/>
          </ac:spMkLst>
        </pc:spChg>
        <pc:spChg chg="mod">
          <ac:chgData name="Aurelien Domont" userId="6da7715ce44349b3" providerId="LiveId" clId="{9689C7A7-0C7F-47C6-AB86-2D84D75E0147}" dt="2022-11-01T02:37:42.714" v="1786" actId="108"/>
          <ac:spMkLst>
            <pc:docMk/>
            <pc:sldMk cId="1863019518" sldId="2448"/>
            <ac:spMk id="63" creationId="{4E8EF82F-3E4A-496E-AFD0-174FCB017778}"/>
          </ac:spMkLst>
        </pc:spChg>
      </pc:sldChg>
      <pc:sldChg chg="modSp add mod">
        <pc:chgData name="Aurelien Domont" userId="6da7715ce44349b3" providerId="LiveId" clId="{9689C7A7-0C7F-47C6-AB86-2D84D75E0147}" dt="2022-11-01T03:08:12.438" v="2088"/>
        <pc:sldMkLst>
          <pc:docMk/>
          <pc:sldMk cId="3940764533" sldId="2449"/>
        </pc:sldMkLst>
        <pc:spChg chg="mod">
          <ac:chgData name="Aurelien Domont" userId="6da7715ce44349b3" providerId="LiveId" clId="{9689C7A7-0C7F-47C6-AB86-2D84D75E0147}" dt="2022-11-01T03:08:12.438" v="2088"/>
          <ac:spMkLst>
            <pc:docMk/>
            <pc:sldMk cId="3940764533" sldId="2449"/>
            <ac:spMk id="14" creationId="{C9800183-F524-4412-AB39-A6E1A21FF0B3}"/>
          </ac:spMkLst>
        </pc:spChg>
        <pc:spChg chg="mod">
          <ac:chgData name="Aurelien Domont" userId="6da7715ce44349b3" providerId="LiveId" clId="{9689C7A7-0C7F-47C6-AB86-2D84D75E0147}" dt="2022-11-01T02:38:00.517" v="1790" actId="108"/>
          <ac:spMkLst>
            <pc:docMk/>
            <pc:sldMk cId="3940764533" sldId="2449"/>
            <ac:spMk id="61" creationId="{89EEEDAF-5C51-A1FB-FDC7-F6422A57B224}"/>
          </ac:spMkLst>
        </pc:spChg>
        <pc:spChg chg="mod">
          <ac:chgData name="Aurelien Domont" userId="6da7715ce44349b3" providerId="LiveId" clId="{9689C7A7-0C7F-47C6-AB86-2D84D75E0147}" dt="2022-11-01T02:38:04.839" v="1791" actId="108"/>
          <ac:spMkLst>
            <pc:docMk/>
            <pc:sldMk cId="3940764533" sldId="2449"/>
            <ac:spMk id="62" creationId="{AFAE7584-7027-51BD-967E-C867206DEFCA}"/>
          </ac:spMkLst>
        </pc:spChg>
      </pc:sldChg>
      <pc:sldChg chg="modSp add mod">
        <pc:chgData name="Aurelien Domont" userId="6da7715ce44349b3" providerId="LiveId" clId="{9689C7A7-0C7F-47C6-AB86-2D84D75E0147}" dt="2022-11-01T03:08:15.659" v="2089"/>
        <pc:sldMkLst>
          <pc:docMk/>
          <pc:sldMk cId="448817993" sldId="2450"/>
        </pc:sldMkLst>
        <pc:spChg chg="mod">
          <ac:chgData name="Aurelien Domont" userId="6da7715ce44349b3" providerId="LiveId" clId="{9689C7A7-0C7F-47C6-AB86-2D84D75E0147}" dt="2022-11-01T03:08:15.659" v="2089"/>
          <ac:spMkLst>
            <pc:docMk/>
            <pc:sldMk cId="448817993" sldId="2450"/>
            <ac:spMk id="14" creationId="{C9800183-F524-4412-AB39-A6E1A21FF0B3}"/>
          </ac:spMkLst>
        </pc:spChg>
        <pc:spChg chg="mod">
          <ac:chgData name="Aurelien Domont" userId="6da7715ce44349b3" providerId="LiveId" clId="{9689C7A7-0C7F-47C6-AB86-2D84D75E0147}" dt="2022-11-01T02:38:20.031" v="1795" actId="108"/>
          <ac:spMkLst>
            <pc:docMk/>
            <pc:sldMk cId="448817993" sldId="2450"/>
            <ac:spMk id="60" creationId="{89D648B1-09AB-4B9F-E067-367D8C466322}"/>
          </ac:spMkLst>
        </pc:spChg>
        <pc:spChg chg="mod">
          <ac:chgData name="Aurelien Domont" userId="6da7715ce44349b3" providerId="LiveId" clId="{9689C7A7-0C7F-47C6-AB86-2D84D75E0147}" dt="2022-11-01T02:38:22.987" v="1796" actId="108"/>
          <ac:spMkLst>
            <pc:docMk/>
            <pc:sldMk cId="448817993" sldId="2450"/>
            <ac:spMk id="61" creationId="{89EEEDAF-5C51-A1FB-FDC7-F6422A57B224}"/>
          </ac:spMkLst>
        </pc:spChg>
      </pc:sldChg>
      <pc:sldChg chg="modSp add mod">
        <pc:chgData name="Aurelien Domont" userId="6da7715ce44349b3" providerId="LiveId" clId="{9689C7A7-0C7F-47C6-AB86-2D84D75E0147}" dt="2022-11-01T03:08:17.960" v="2090"/>
        <pc:sldMkLst>
          <pc:docMk/>
          <pc:sldMk cId="2804260397" sldId="2451"/>
        </pc:sldMkLst>
        <pc:spChg chg="mod">
          <ac:chgData name="Aurelien Domont" userId="6da7715ce44349b3" providerId="LiveId" clId="{9689C7A7-0C7F-47C6-AB86-2D84D75E0147}" dt="2022-11-01T03:08:17.960" v="2090"/>
          <ac:spMkLst>
            <pc:docMk/>
            <pc:sldMk cId="2804260397" sldId="2451"/>
            <ac:spMk id="14" creationId="{C9800183-F524-4412-AB39-A6E1A21FF0B3}"/>
          </ac:spMkLst>
        </pc:spChg>
        <pc:spChg chg="mod">
          <ac:chgData name="Aurelien Domont" userId="6da7715ce44349b3" providerId="LiveId" clId="{9689C7A7-0C7F-47C6-AB86-2D84D75E0147}" dt="2022-11-01T02:38:33.184" v="1799" actId="20577"/>
          <ac:spMkLst>
            <pc:docMk/>
            <pc:sldMk cId="2804260397" sldId="2451"/>
            <ac:spMk id="59" creationId="{1D9B75F2-9F60-4DC8-7886-E0E019A353A0}"/>
          </ac:spMkLst>
        </pc:spChg>
        <pc:spChg chg="mod">
          <ac:chgData name="Aurelien Domont" userId="6da7715ce44349b3" providerId="LiveId" clId="{9689C7A7-0C7F-47C6-AB86-2D84D75E0147}" dt="2022-11-01T02:38:37.946" v="1800" actId="108"/>
          <ac:spMkLst>
            <pc:docMk/>
            <pc:sldMk cId="2804260397" sldId="2451"/>
            <ac:spMk id="60" creationId="{89D648B1-09AB-4B9F-E067-367D8C466322}"/>
          </ac:spMkLst>
        </pc:spChg>
      </pc:sldChg>
      <pc:sldChg chg="modSp add mod">
        <pc:chgData name="Aurelien Domont" userId="6da7715ce44349b3" providerId="LiveId" clId="{9689C7A7-0C7F-47C6-AB86-2D84D75E0147}" dt="2022-11-01T03:08:24.074" v="2092"/>
        <pc:sldMkLst>
          <pc:docMk/>
          <pc:sldMk cId="3306386452" sldId="2452"/>
        </pc:sldMkLst>
        <pc:spChg chg="mod">
          <ac:chgData name="Aurelien Domont" userId="6da7715ce44349b3" providerId="LiveId" clId="{9689C7A7-0C7F-47C6-AB86-2D84D75E0147}" dt="2022-11-01T03:08:24.074" v="2092"/>
          <ac:spMkLst>
            <pc:docMk/>
            <pc:sldMk cId="3306386452" sldId="2452"/>
            <ac:spMk id="14" creationId="{C9800183-F524-4412-AB39-A6E1A21FF0B3}"/>
          </ac:spMkLst>
        </pc:spChg>
        <pc:spChg chg="mod">
          <ac:chgData name="Aurelien Domont" userId="6da7715ce44349b3" providerId="LiveId" clId="{9689C7A7-0C7F-47C6-AB86-2D84D75E0147}" dt="2022-11-01T02:38:45.680" v="1802" actId="108"/>
          <ac:spMkLst>
            <pc:docMk/>
            <pc:sldMk cId="3306386452" sldId="2452"/>
            <ac:spMk id="58" creationId="{3947AD40-3E3D-68E6-4AE7-9F85DC6A6BBA}"/>
          </ac:spMkLst>
        </pc:spChg>
        <pc:spChg chg="mod">
          <ac:chgData name="Aurelien Domont" userId="6da7715ce44349b3" providerId="LiveId" clId="{9689C7A7-0C7F-47C6-AB86-2D84D75E0147}" dt="2022-11-01T02:38:49.796" v="1803" actId="108"/>
          <ac:spMkLst>
            <pc:docMk/>
            <pc:sldMk cId="3306386452" sldId="2452"/>
            <ac:spMk id="59" creationId="{1D9B75F2-9F60-4DC8-7886-E0E019A353A0}"/>
          </ac:spMkLst>
        </pc:spChg>
      </pc:sldChg>
      <pc:sldChg chg="addSp delSp modSp add mod">
        <pc:chgData name="Aurelien Domont" userId="6da7715ce44349b3" providerId="LiveId" clId="{9689C7A7-0C7F-47C6-AB86-2D84D75E0147}" dt="2022-11-01T05:17:55.675" v="2724" actId="1076"/>
        <pc:sldMkLst>
          <pc:docMk/>
          <pc:sldMk cId="1954741902" sldId="2453"/>
        </pc:sldMkLst>
        <pc:spChg chg="add del mod">
          <ac:chgData name="Aurelien Domont" userId="6da7715ce44349b3" providerId="LiveId" clId="{9689C7A7-0C7F-47C6-AB86-2D84D75E0147}" dt="2022-11-01T04:13:57.650" v="2126" actId="478"/>
          <ac:spMkLst>
            <pc:docMk/>
            <pc:sldMk cId="1954741902" sldId="2453"/>
            <ac:spMk id="4" creationId="{CF18D9DD-6367-0ED7-0BEB-E4EDEE6FA960}"/>
          </ac:spMkLst>
        </pc:spChg>
        <pc:spChg chg="add del">
          <ac:chgData name="Aurelien Domont" userId="6da7715ce44349b3" providerId="LiveId" clId="{9689C7A7-0C7F-47C6-AB86-2D84D75E0147}" dt="2022-11-01T04:36:57.743" v="2200" actId="22"/>
          <ac:spMkLst>
            <pc:docMk/>
            <pc:sldMk cId="1954741902" sldId="2453"/>
            <ac:spMk id="11" creationId="{A5912877-6A48-43AC-B6DD-E526001B5D39}"/>
          </ac:spMkLst>
        </pc:spChg>
        <pc:spChg chg="mod">
          <ac:chgData name="Aurelien Domont" userId="6da7715ce44349b3" providerId="LiveId" clId="{9689C7A7-0C7F-47C6-AB86-2D84D75E0147}" dt="2022-11-01T04:36:41.242" v="2197"/>
          <ac:spMkLst>
            <pc:docMk/>
            <pc:sldMk cId="1954741902" sldId="2453"/>
            <ac:spMk id="14" creationId="{C9800183-F524-4412-AB39-A6E1A21FF0B3}"/>
          </ac:spMkLst>
        </pc:spChg>
        <pc:spChg chg="add mod">
          <ac:chgData name="Aurelien Domont" userId="6da7715ce44349b3" providerId="LiveId" clId="{9689C7A7-0C7F-47C6-AB86-2D84D75E0147}" dt="2022-11-01T04:53:53.891" v="2327"/>
          <ac:spMkLst>
            <pc:docMk/>
            <pc:sldMk cId="1954741902" sldId="2453"/>
            <ac:spMk id="15" creationId="{A3038536-D653-02AD-F5A4-2FA7560ABA3F}"/>
          </ac:spMkLst>
        </pc:spChg>
        <pc:spChg chg="del">
          <ac:chgData name="Aurelien Domont" userId="6da7715ce44349b3" providerId="LiveId" clId="{9689C7A7-0C7F-47C6-AB86-2D84D75E0147}" dt="2022-11-01T02:42:39.132" v="1851" actId="478"/>
          <ac:spMkLst>
            <pc:docMk/>
            <pc:sldMk cId="1954741902" sldId="2453"/>
            <ac:spMk id="58" creationId="{3947AD40-3E3D-68E6-4AE7-9F85DC6A6BBA}"/>
          </ac:spMkLst>
        </pc:spChg>
        <pc:spChg chg="del">
          <ac:chgData name="Aurelien Domont" userId="6da7715ce44349b3" providerId="LiveId" clId="{9689C7A7-0C7F-47C6-AB86-2D84D75E0147}" dt="2022-11-01T02:42:39.132" v="1851" actId="478"/>
          <ac:spMkLst>
            <pc:docMk/>
            <pc:sldMk cId="1954741902" sldId="2453"/>
            <ac:spMk id="59" creationId="{1D9B75F2-9F60-4DC8-7886-E0E019A353A0}"/>
          </ac:spMkLst>
        </pc:spChg>
        <pc:spChg chg="del">
          <ac:chgData name="Aurelien Domont" userId="6da7715ce44349b3" providerId="LiveId" clId="{9689C7A7-0C7F-47C6-AB86-2D84D75E0147}" dt="2022-11-01T02:42:39.132" v="1851" actId="478"/>
          <ac:spMkLst>
            <pc:docMk/>
            <pc:sldMk cId="1954741902" sldId="2453"/>
            <ac:spMk id="60" creationId="{89D648B1-09AB-4B9F-E067-367D8C466322}"/>
          </ac:spMkLst>
        </pc:spChg>
        <pc:spChg chg="del">
          <ac:chgData name="Aurelien Domont" userId="6da7715ce44349b3" providerId="LiveId" clId="{9689C7A7-0C7F-47C6-AB86-2D84D75E0147}" dt="2022-11-01T02:42:39.132" v="1851" actId="478"/>
          <ac:spMkLst>
            <pc:docMk/>
            <pc:sldMk cId="1954741902" sldId="2453"/>
            <ac:spMk id="61" creationId="{89EEEDAF-5C51-A1FB-FDC7-F6422A57B224}"/>
          </ac:spMkLst>
        </pc:spChg>
        <pc:spChg chg="del">
          <ac:chgData name="Aurelien Domont" userId="6da7715ce44349b3" providerId="LiveId" clId="{9689C7A7-0C7F-47C6-AB86-2D84D75E0147}" dt="2022-11-01T02:42:39.132" v="1851" actId="478"/>
          <ac:spMkLst>
            <pc:docMk/>
            <pc:sldMk cId="1954741902" sldId="2453"/>
            <ac:spMk id="62" creationId="{AFAE7584-7027-51BD-967E-C867206DEFCA}"/>
          </ac:spMkLst>
        </pc:spChg>
        <pc:spChg chg="del">
          <ac:chgData name="Aurelien Domont" userId="6da7715ce44349b3" providerId="LiveId" clId="{9689C7A7-0C7F-47C6-AB86-2D84D75E0147}" dt="2022-11-01T02:42:39.132" v="1851" actId="478"/>
          <ac:spMkLst>
            <pc:docMk/>
            <pc:sldMk cId="1954741902" sldId="2453"/>
            <ac:spMk id="63" creationId="{4E8EF82F-3E4A-496E-AFD0-174FCB017778}"/>
          </ac:spMkLst>
        </pc:spChg>
        <pc:spChg chg="del">
          <ac:chgData name="Aurelien Domont" userId="6da7715ce44349b3" providerId="LiveId" clId="{9689C7A7-0C7F-47C6-AB86-2D84D75E0147}" dt="2022-11-01T02:42:39.132" v="1851" actId="478"/>
          <ac:spMkLst>
            <pc:docMk/>
            <pc:sldMk cId="1954741902" sldId="2453"/>
            <ac:spMk id="64" creationId="{0B6055F1-2550-02EF-72AF-5C9932BDFD5B}"/>
          </ac:spMkLst>
        </pc:spChg>
        <pc:spChg chg="del">
          <ac:chgData name="Aurelien Domont" userId="6da7715ce44349b3" providerId="LiveId" clId="{9689C7A7-0C7F-47C6-AB86-2D84D75E0147}" dt="2022-11-01T02:42:39.132" v="1851" actId="478"/>
          <ac:spMkLst>
            <pc:docMk/>
            <pc:sldMk cId="1954741902" sldId="2453"/>
            <ac:spMk id="65" creationId="{E8FD65DA-C75B-09C5-2063-1BAD79DE64AE}"/>
          </ac:spMkLst>
        </pc:spChg>
        <pc:graphicFrameChg chg="add mod">
          <ac:chgData name="Aurelien Domont" userId="6da7715ce44349b3" providerId="LiveId" clId="{9689C7A7-0C7F-47C6-AB86-2D84D75E0147}" dt="2022-11-01T04:14:07.272" v="2128"/>
          <ac:graphicFrameMkLst>
            <pc:docMk/>
            <pc:sldMk cId="1954741902" sldId="2453"/>
            <ac:graphicFrameMk id="3" creationId="{43DDCCD1-0556-4366-7103-17BF2C44EE7D}"/>
          </ac:graphicFrameMkLst>
        </pc:graphicFrameChg>
        <pc:graphicFrameChg chg="add del mod modGraphic">
          <ac:chgData name="Aurelien Domont" userId="6da7715ce44349b3" providerId="LiveId" clId="{9689C7A7-0C7F-47C6-AB86-2D84D75E0147}" dt="2022-11-01T02:47:23.941" v="1966" actId="478"/>
          <ac:graphicFrameMkLst>
            <pc:docMk/>
            <pc:sldMk cId="1954741902" sldId="2453"/>
            <ac:graphicFrameMk id="3" creationId="{86F9A2D8-5737-84AB-5453-766622C88B99}"/>
          </ac:graphicFrameMkLst>
        </pc:graphicFrameChg>
        <pc:graphicFrameChg chg="add mod">
          <ac:chgData name="Aurelien Domont" userId="6da7715ce44349b3" providerId="LiveId" clId="{9689C7A7-0C7F-47C6-AB86-2D84D75E0147}" dt="2022-11-01T02:53:23.548" v="1985"/>
          <ac:graphicFrameMkLst>
            <pc:docMk/>
            <pc:sldMk cId="1954741902" sldId="2453"/>
            <ac:graphicFrameMk id="6" creationId="{E8769343-A1EA-4138-85BE-EC28D458AC2F}"/>
          </ac:graphicFrameMkLst>
        </pc:graphicFrameChg>
        <pc:graphicFrameChg chg="add mod">
          <ac:chgData name="Aurelien Domont" userId="6da7715ce44349b3" providerId="LiveId" clId="{9689C7A7-0C7F-47C6-AB86-2D84D75E0147}" dt="2022-11-01T04:15:34.908" v="2140"/>
          <ac:graphicFrameMkLst>
            <pc:docMk/>
            <pc:sldMk cId="1954741902" sldId="2453"/>
            <ac:graphicFrameMk id="8" creationId="{43DDCCD1-0556-4366-7103-17BF2C44EE7D}"/>
          </ac:graphicFrameMkLst>
        </pc:graphicFrameChg>
        <pc:picChg chg="add del mod">
          <ac:chgData name="Aurelien Domont" userId="6da7715ce44349b3" providerId="LiveId" clId="{9689C7A7-0C7F-47C6-AB86-2D84D75E0147}" dt="2022-11-01T02:53:18.960" v="1983" actId="478"/>
          <ac:picMkLst>
            <pc:docMk/>
            <pc:sldMk cId="1954741902" sldId="2453"/>
            <ac:picMk id="5" creationId="{0B76CD27-3A55-D983-0CA3-73FD67A1E90A}"/>
          </ac:picMkLst>
        </pc:picChg>
        <pc:picChg chg="add del mod">
          <ac:chgData name="Aurelien Domont" userId="6da7715ce44349b3" providerId="LiveId" clId="{9689C7A7-0C7F-47C6-AB86-2D84D75E0147}" dt="2022-11-01T04:14:34.061" v="2133" actId="478"/>
          <ac:picMkLst>
            <pc:docMk/>
            <pc:sldMk cId="1954741902" sldId="2453"/>
            <ac:picMk id="5" creationId="{6BD4521F-9346-152B-0DC7-0B25BB1CC2B7}"/>
          </ac:picMkLst>
        </pc:picChg>
        <pc:picChg chg="add del mod">
          <ac:chgData name="Aurelien Domont" userId="6da7715ce44349b3" providerId="LiveId" clId="{9689C7A7-0C7F-47C6-AB86-2D84D75E0147}" dt="2022-11-01T04:15:32.048" v="2138" actId="478"/>
          <ac:picMkLst>
            <pc:docMk/>
            <pc:sldMk cId="1954741902" sldId="2453"/>
            <ac:picMk id="6" creationId="{0D746B9A-A298-0E44-4440-22BABEA91458}"/>
          </ac:picMkLst>
        </pc:picChg>
        <pc:picChg chg="add del mod">
          <ac:chgData name="Aurelien Domont" userId="6da7715ce44349b3" providerId="LiveId" clId="{9689C7A7-0C7F-47C6-AB86-2D84D75E0147}" dt="2022-11-01T04:13:55.199" v="2125" actId="478"/>
          <ac:picMkLst>
            <pc:docMk/>
            <pc:sldMk cId="1954741902" sldId="2453"/>
            <ac:picMk id="7" creationId="{7719E406-0801-5C47-9D36-D40EEE53658D}"/>
          </ac:picMkLst>
        </pc:picChg>
        <pc:picChg chg="add del mod">
          <ac:chgData name="Aurelien Domont" userId="6da7715ce44349b3" providerId="LiveId" clId="{9689C7A7-0C7F-47C6-AB86-2D84D75E0147}" dt="2022-11-01T04:36:19.168" v="2196" actId="478"/>
          <ac:picMkLst>
            <pc:docMk/>
            <pc:sldMk cId="1954741902" sldId="2453"/>
            <ac:picMk id="9" creationId="{492F1005-3159-D8F1-BDD7-3F2D29077D7F}"/>
          </ac:picMkLst>
        </pc:picChg>
        <pc:picChg chg="add del mod">
          <ac:chgData name="Aurelien Domont" userId="6da7715ce44349b3" providerId="LiveId" clId="{9689C7A7-0C7F-47C6-AB86-2D84D75E0147}" dt="2022-11-01T04:37:46.348" v="2206" actId="478"/>
          <ac:picMkLst>
            <pc:docMk/>
            <pc:sldMk cId="1954741902" sldId="2453"/>
            <ac:picMk id="12" creationId="{6B02380A-80C1-71B0-6616-C6158B1A0211}"/>
          </ac:picMkLst>
        </pc:picChg>
        <pc:picChg chg="add mod">
          <ac:chgData name="Aurelien Domont" userId="6da7715ce44349b3" providerId="LiveId" clId="{9689C7A7-0C7F-47C6-AB86-2D84D75E0147}" dt="2022-11-01T05:17:55.675" v="2724" actId="1076"/>
          <ac:picMkLst>
            <pc:docMk/>
            <pc:sldMk cId="1954741902" sldId="2453"/>
            <ac:picMk id="13" creationId="{A7A5C136-8101-D140-4603-4A440EEB937D}"/>
          </ac:picMkLst>
        </pc:picChg>
      </pc:sldChg>
      <pc:sldChg chg="addSp delSp modSp add mod">
        <pc:chgData name="Aurelien Domont" userId="6da7715ce44349b3" providerId="LiveId" clId="{9689C7A7-0C7F-47C6-AB86-2D84D75E0147}" dt="2022-11-01T23:51:05.407" v="3558" actId="1036"/>
        <pc:sldMkLst>
          <pc:docMk/>
          <pc:sldMk cId="110316594" sldId="2454"/>
        </pc:sldMkLst>
        <pc:spChg chg="mod">
          <ac:chgData name="Aurelien Domont" userId="6da7715ce44349b3" providerId="LiveId" clId="{9689C7A7-0C7F-47C6-AB86-2D84D75E0147}" dt="2022-11-01T23:51:05.407" v="3558" actId="1036"/>
          <ac:spMkLst>
            <pc:docMk/>
            <pc:sldMk cId="110316594" sldId="2454"/>
            <ac:spMk id="2" creationId="{547CB403-88D0-99AE-C93F-28EEFD77F877}"/>
          </ac:spMkLst>
        </pc:spChg>
        <pc:spChg chg="add mod">
          <ac:chgData name="Aurelien Domont" userId="6da7715ce44349b3" providerId="LiveId" clId="{9689C7A7-0C7F-47C6-AB86-2D84D75E0147}" dt="2022-11-01T23:44:21.852" v="3441"/>
          <ac:spMkLst>
            <pc:docMk/>
            <pc:sldMk cId="110316594" sldId="2454"/>
            <ac:spMk id="4" creationId="{E4A5154F-C746-B1EB-5164-A6CF5928FBF5}"/>
          </ac:spMkLst>
        </pc:spChg>
        <pc:spChg chg="add mod">
          <ac:chgData name="Aurelien Domont" userId="6da7715ce44349b3" providerId="LiveId" clId="{9689C7A7-0C7F-47C6-AB86-2D84D75E0147}" dt="2022-11-01T23:44:21.852" v="3441"/>
          <ac:spMkLst>
            <pc:docMk/>
            <pc:sldMk cId="110316594" sldId="2454"/>
            <ac:spMk id="5" creationId="{433CC5AF-A1DA-FDAE-3F03-BCC2A16AC2D5}"/>
          </ac:spMkLst>
        </pc:spChg>
        <pc:spChg chg="del">
          <ac:chgData name="Aurelien Domont" userId="6da7715ce44349b3" providerId="LiveId" clId="{9689C7A7-0C7F-47C6-AB86-2D84D75E0147}" dt="2022-11-01T23:44:21.559" v="3440" actId="478"/>
          <ac:spMkLst>
            <pc:docMk/>
            <pc:sldMk cId="110316594" sldId="2454"/>
            <ac:spMk id="35" creationId="{7758CDCB-3EC2-2649-205A-634E6CD09FD3}"/>
          </ac:spMkLst>
        </pc:spChg>
        <pc:spChg chg="del">
          <ac:chgData name="Aurelien Domont" userId="6da7715ce44349b3" providerId="LiveId" clId="{9689C7A7-0C7F-47C6-AB86-2D84D75E0147}" dt="2022-11-01T23:44:21.559" v="3440" actId="478"/>
          <ac:spMkLst>
            <pc:docMk/>
            <pc:sldMk cId="110316594" sldId="2454"/>
            <ac:spMk id="37" creationId="{B15EC3E4-C265-C1FD-D742-B35B540F34C8}"/>
          </ac:spMkLst>
        </pc:spChg>
      </pc:sldChg>
      <pc:sldChg chg="add del">
        <pc:chgData name="Aurelien Domont" userId="6da7715ce44349b3" providerId="LiveId" clId="{9689C7A7-0C7F-47C6-AB86-2D84D75E0147}" dt="2022-11-01T04:50:47.312" v="2245" actId="47"/>
        <pc:sldMkLst>
          <pc:docMk/>
          <pc:sldMk cId="1664268725" sldId="2455"/>
        </pc:sldMkLst>
      </pc:sldChg>
      <pc:sldChg chg="addSp delSp modSp add mod ord">
        <pc:chgData name="Aurelien Domont" userId="6da7715ce44349b3" providerId="LiveId" clId="{9689C7A7-0C7F-47C6-AB86-2D84D75E0147}" dt="2022-11-01T04:53:31.078" v="2318" actId="1076"/>
        <pc:sldMkLst>
          <pc:docMk/>
          <pc:sldMk cId="1985687095" sldId="2456"/>
        </pc:sldMkLst>
        <pc:spChg chg="del">
          <ac:chgData name="Aurelien Domont" userId="6da7715ce44349b3" providerId="LiveId" clId="{9689C7A7-0C7F-47C6-AB86-2D84D75E0147}" dt="2022-11-01T04:32:30.444" v="2171" actId="478"/>
          <ac:spMkLst>
            <pc:docMk/>
            <pc:sldMk cId="1985687095" sldId="2456"/>
            <ac:spMk id="4" creationId="{CF18D9DD-6367-0ED7-0BEB-E4EDEE6FA960}"/>
          </ac:spMkLst>
        </pc:spChg>
        <pc:spChg chg="add mod">
          <ac:chgData name="Aurelien Domont" userId="6da7715ce44349b3" providerId="LiveId" clId="{9689C7A7-0C7F-47C6-AB86-2D84D75E0147}" dt="2022-11-01T04:53:31.078" v="2318" actId="1076"/>
          <ac:spMkLst>
            <pc:docMk/>
            <pc:sldMk cId="1985687095" sldId="2456"/>
            <ac:spMk id="9" creationId="{7091EE47-6329-932C-6C99-7A505D7BFB78}"/>
          </ac:spMkLst>
        </pc:spChg>
        <pc:spChg chg="mod">
          <ac:chgData name="Aurelien Domont" userId="6da7715ce44349b3" providerId="LiveId" clId="{9689C7A7-0C7F-47C6-AB86-2D84D75E0147}" dt="2022-11-01T04:32:25.855" v="2170" actId="20577"/>
          <ac:spMkLst>
            <pc:docMk/>
            <pc:sldMk cId="1985687095" sldId="2456"/>
            <ac:spMk id="14" creationId="{C9800183-F524-4412-AB39-A6E1A21FF0B3}"/>
          </ac:spMkLst>
        </pc:spChg>
        <pc:picChg chg="add del mod">
          <ac:chgData name="Aurelien Domont" userId="6da7715ce44349b3" providerId="LiveId" clId="{9689C7A7-0C7F-47C6-AB86-2D84D75E0147}" dt="2022-11-01T04:34:25.532" v="2177" actId="478"/>
          <ac:picMkLst>
            <pc:docMk/>
            <pc:sldMk cId="1985687095" sldId="2456"/>
            <ac:picMk id="3" creationId="{A99CC5F1-36C0-B9A6-1794-61CFE0ABD5D7}"/>
          </ac:picMkLst>
        </pc:picChg>
        <pc:picChg chg="add del mod">
          <ac:chgData name="Aurelien Domont" userId="6da7715ce44349b3" providerId="LiveId" clId="{9689C7A7-0C7F-47C6-AB86-2D84D75E0147}" dt="2022-11-01T04:35:15.573" v="2184" actId="478"/>
          <ac:picMkLst>
            <pc:docMk/>
            <pc:sldMk cId="1985687095" sldId="2456"/>
            <ac:picMk id="5" creationId="{2667A1BC-EAEC-7B4E-13AF-AD3AFB5CA451}"/>
          </ac:picMkLst>
        </pc:picChg>
        <pc:picChg chg="add del mod">
          <ac:chgData name="Aurelien Domont" userId="6da7715ce44349b3" providerId="LiveId" clId="{9689C7A7-0C7F-47C6-AB86-2D84D75E0147}" dt="2022-11-01T04:35:47.536" v="2191" actId="478"/>
          <ac:picMkLst>
            <pc:docMk/>
            <pc:sldMk cId="1985687095" sldId="2456"/>
            <ac:picMk id="6" creationId="{1A30783A-C081-09BC-E76F-DEA9E34A173F}"/>
          </ac:picMkLst>
        </pc:picChg>
        <pc:picChg chg="del">
          <ac:chgData name="Aurelien Domont" userId="6da7715ce44349b3" providerId="LiveId" clId="{9689C7A7-0C7F-47C6-AB86-2D84D75E0147}" dt="2022-11-01T04:32:30.444" v="2171" actId="478"/>
          <ac:picMkLst>
            <pc:docMk/>
            <pc:sldMk cId="1985687095" sldId="2456"/>
            <ac:picMk id="7" creationId="{7719E406-0801-5C47-9D36-D40EEE53658D}"/>
          </ac:picMkLst>
        </pc:picChg>
        <pc:picChg chg="add mod">
          <ac:chgData name="Aurelien Domont" userId="6da7715ce44349b3" providerId="LiveId" clId="{9689C7A7-0C7F-47C6-AB86-2D84D75E0147}" dt="2022-11-01T04:35:56.876" v="2195" actId="108"/>
          <ac:picMkLst>
            <pc:docMk/>
            <pc:sldMk cId="1985687095" sldId="2456"/>
            <ac:picMk id="8" creationId="{2B1D554D-BD31-4552-8817-91BEE2A909D8}"/>
          </ac:picMkLst>
        </pc:picChg>
      </pc:sldChg>
      <pc:sldChg chg="addSp delSp modSp add mod">
        <pc:chgData name="Aurelien Domont" userId="6da7715ce44349b3" providerId="LiveId" clId="{9689C7A7-0C7F-47C6-AB86-2D84D75E0147}" dt="2022-11-01T04:53:40.442" v="2324" actId="1035"/>
        <pc:sldMkLst>
          <pc:docMk/>
          <pc:sldMk cId="168774925" sldId="2457"/>
        </pc:sldMkLst>
        <pc:spChg chg="add mod">
          <ac:chgData name="Aurelien Domont" userId="6da7715ce44349b3" providerId="LiveId" clId="{9689C7A7-0C7F-47C6-AB86-2D84D75E0147}" dt="2022-11-01T04:38:38.860" v="2213"/>
          <ac:spMkLst>
            <pc:docMk/>
            <pc:sldMk cId="168774925" sldId="2457"/>
            <ac:spMk id="3" creationId="{D45D102E-6610-62BF-6D80-6322F4372CE5}"/>
          </ac:spMkLst>
        </pc:spChg>
        <pc:spChg chg="add mod">
          <ac:chgData name="Aurelien Domont" userId="6da7715ce44349b3" providerId="LiveId" clId="{9689C7A7-0C7F-47C6-AB86-2D84D75E0147}" dt="2022-11-01T04:53:36.913" v="2320"/>
          <ac:spMkLst>
            <pc:docMk/>
            <pc:sldMk cId="168774925" sldId="2457"/>
            <ac:spMk id="5" creationId="{CB31B1F8-4AA3-ED91-391A-D6A3A6DEC649}"/>
          </ac:spMkLst>
        </pc:spChg>
        <pc:picChg chg="add mod">
          <ac:chgData name="Aurelien Domont" userId="6da7715ce44349b3" providerId="LiveId" clId="{9689C7A7-0C7F-47C6-AB86-2D84D75E0147}" dt="2022-11-01T04:53:40.442" v="2324" actId="1035"/>
          <ac:picMkLst>
            <pc:docMk/>
            <pc:sldMk cId="168774925" sldId="2457"/>
            <ac:picMk id="4" creationId="{5080FB70-1734-5395-6266-E811865CAD35}"/>
          </ac:picMkLst>
        </pc:picChg>
        <pc:picChg chg="del">
          <ac:chgData name="Aurelien Domont" userId="6da7715ce44349b3" providerId="LiveId" clId="{9689C7A7-0C7F-47C6-AB86-2D84D75E0147}" dt="2022-11-01T04:38:40.738" v="2214" actId="478"/>
          <ac:picMkLst>
            <pc:docMk/>
            <pc:sldMk cId="168774925" sldId="2457"/>
            <ac:picMk id="13" creationId="{A7A5C136-8101-D140-4603-4A440EEB937D}"/>
          </ac:picMkLst>
        </pc:picChg>
      </pc:sldChg>
      <pc:sldChg chg="addSp delSp modSp add mod">
        <pc:chgData name="Aurelien Domont" userId="6da7715ce44349b3" providerId="LiveId" clId="{9689C7A7-0C7F-47C6-AB86-2D84D75E0147}" dt="2022-11-01T05:17:49.236" v="2722" actId="14100"/>
        <pc:sldMkLst>
          <pc:docMk/>
          <pc:sldMk cId="4275428970" sldId="2458"/>
        </pc:sldMkLst>
        <pc:spChg chg="add mod">
          <ac:chgData name="Aurelien Domont" userId="6da7715ce44349b3" providerId="LiveId" clId="{9689C7A7-0C7F-47C6-AB86-2D84D75E0147}" dt="2022-11-01T04:53:44.084" v="2325"/>
          <ac:spMkLst>
            <pc:docMk/>
            <pc:sldMk cId="4275428970" sldId="2458"/>
            <ac:spMk id="4" creationId="{345CF083-61A8-532D-7B54-1F1C387C9296}"/>
          </ac:spMkLst>
        </pc:spChg>
        <pc:spChg chg="mod">
          <ac:chgData name="Aurelien Domont" userId="6da7715ce44349b3" providerId="LiveId" clId="{9689C7A7-0C7F-47C6-AB86-2D84D75E0147}" dt="2022-11-01T04:39:20.977" v="2225" actId="20577"/>
          <ac:spMkLst>
            <pc:docMk/>
            <pc:sldMk cId="4275428970" sldId="2458"/>
            <ac:spMk id="14" creationId="{C9800183-F524-4412-AB39-A6E1A21FF0B3}"/>
          </ac:spMkLst>
        </pc:spChg>
        <pc:picChg chg="add mod">
          <ac:chgData name="Aurelien Domont" userId="6da7715ce44349b3" providerId="LiveId" clId="{9689C7A7-0C7F-47C6-AB86-2D84D75E0147}" dt="2022-11-01T05:17:49.236" v="2722" actId="14100"/>
          <ac:picMkLst>
            <pc:docMk/>
            <pc:sldMk cId="4275428970" sldId="2458"/>
            <ac:picMk id="3" creationId="{FBBEF44B-6216-A6E7-C6E3-CBB0DE59E65E}"/>
          </ac:picMkLst>
        </pc:picChg>
        <pc:picChg chg="del">
          <ac:chgData name="Aurelien Domont" userId="6da7715ce44349b3" providerId="LiveId" clId="{9689C7A7-0C7F-47C6-AB86-2D84D75E0147}" dt="2022-11-01T04:39:25.957" v="2226" actId="478"/>
          <ac:picMkLst>
            <pc:docMk/>
            <pc:sldMk cId="4275428970" sldId="2458"/>
            <ac:picMk id="13" creationId="{A7A5C136-8101-D140-4603-4A440EEB937D}"/>
          </ac:picMkLst>
        </pc:picChg>
      </pc:sldChg>
      <pc:sldChg chg="addSp delSp modSp add mod">
        <pc:chgData name="Aurelien Domont" userId="6da7715ce44349b3" providerId="LiveId" clId="{9689C7A7-0C7F-47C6-AB86-2D84D75E0147}" dt="2022-11-01T04:53:49" v="2326"/>
        <pc:sldMkLst>
          <pc:docMk/>
          <pc:sldMk cId="3206494395" sldId="2459"/>
        </pc:sldMkLst>
        <pc:spChg chg="add mod">
          <ac:chgData name="Aurelien Domont" userId="6da7715ce44349b3" providerId="LiveId" clId="{9689C7A7-0C7F-47C6-AB86-2D84D75E0147}" dt="2022-11-01T04:53:49" v="2326"/>
          <ac:spMkLst>
            <pc:docMk/>
            <pc:sldMk cId="3206494395" sldId="2459"/>
            <ac:spMk id="7" creationId="{C09D7307-3E42-B3B1-E2AC-1A00BC583FC9}"/>
          </ac:spMkLst>
        </pc:spChg>
        <pc:spChg chg="mod">
          <ac:chgData name="Aurelien Domont" userId="6da7715ce44349b3" providerId="LiveId" clId="{9689C7A7-0C7F-47C6-AB86-2D84D75E0147}" dt="2022-11-01T04:39:29.111" v="2232" actId="20577"/>
          <ac:spMkLst>
            <pc:docMk/>
            <pc:sldMk cId="3206494395" sldId="2459"/>
            <ac:spMk id="14" creationId="{C9800183-F524-4412-AB39-A6E1A21FF0B3}"/>
          </ac:spMkLst>
        </pc:spChg>
        <pc:picChg chg="del">
          <ac:chgData name="Aurelien Domont" userId="6da7715ce44349b3" providerId="LiveId" clId="{9689C7A7-0C7F-47C6-AB86-2D84D75E0147}" dt="2022-11-01T04:39:31.030" v="2233" actId="478"/>
          <ac:picMkLst>
            <pc:docMk/>
            <pc:sldMk cId="3206494395" sldId="2459"/>
            <ac:picMk id="4" creationId="{5080FB70-1734-5395-6266-E811865CAD35}"/>
          </ac:picMkLst>
        </pc:picChg>
        <pc:picChg chg="add del mod">
          <ac:chgData name="Aurelien Domont" userId="6da7715ce44349b3" providerId="LiveId" clId="{9689C7A7-0C7F-47C6-AB86-2D84D75E0147}" dt="2022-11-01T04:39:52.608" v="2239" actId="21"/>
          <ac:picMkLst>
            <pc:docMk/>
            <pc:sldMk cId="3206494395" sldId="2459"/>
            <ac:picMk id="5" creationId="{C3A27465-7390-81E6-D0AE-5F4A581A08A8}"/>
          </ac:picMkLst>
        </pc:picChg>
        <pc:picChg chg="add mod">
          <ac:chgData name="Aurelien Domont" userId="6da7715ce44349b3" providerId="LiveId" clId="{9689C7A7-0C7F-47C6-AB86-2D84D75E0147}" dt="2022-11-01T04:40:08.674" v="2244" actId="108"/>
          <ac:picMkLst>
            <pc:docMk/>
            <pc:sldMk cId="3206494395" sldId="2459"/>
            <ac:picMk id="6" creationId="{550D7E89-8BB3-DB2C-ADB7-14E28CFEB6FE}"/>
          </ac:picMkLst>
        </pc:picChg>
      </pc:sldChg>
      <pc:sldChg chg="addSp modSp add mod">
        <pc:chgData name="Aurelien Domont" userId="6da7715ce44349b3" providerId="LiveId" clId="{9689C7A7-0C7F-47C6-AB86-2D84D75E0147}" dt="2022-11-01T04:57:12.863" v="2652" actId="20577"/>
        <pc:sldMkLst>
          <pc:docMk/>
          <pc:sldMk cId="1757491115" sldId="2460"/>
        </pc:sldMkLst>
        <pc:spChg chg="add mod">
          <ac:chgData name="Aurelien Domont" userId="6da7715ce44349b3" providerId="LiveId" clId="{9689C7A7-0C7F-47C6-AB86-2D84D75E0147}" dt="2022-11-01T04:51:15.640" v="2262" actId="20577"/>
          <ac:spMkLst>
            <pc:docMk/>
            <pc:sldMk cId="1757491115" sldId="2460"/>
            <ac:spMk id="3" creationId="{94EC6CBF-6DBB-0539-9BB5-D9A58F4ED371}"/>
          </ac:spMkLst>
        </pc:spChg>
        <pc:spChg chg="add mod">
          <ac:chgData name="Aurelien Domont" userId="6da7715ce44349b3" providerId="LiveId" clId="{9689C7A7-0C7F-47C6-AB86-2D84D75E0147}" dt="2022-11-01T04:57:12.863" v="2652" actId="20577"/>
          <ac:spMkLst>
            <pc:docMk/>
            <pc:sldMk cId="1757491115" sldId="2460"/>
            <ac:spMk id="4" creationId="{A2EA6756-EF27-6040-0F90-180D57E7737A}"/>
          </ac:spMkLst>
        </pc:spChg>
        <pc:spChg chg="add mod">
          <ac:chgData name="Aurelien Domont" userId="6da7715ce44349b3" providerId="LiveId" clId="{9689C7A7-0C7F-47C6-AB86-2D84D75E0147}" dt="2022-11-01T04:53:35.439" v="2319"/>
          <ac:spMkLst>
            <pc:docMk/>
            <pc:sldMk cId="1757491115" sldId="2460"/>
            <ac:spMk id="5" creationId="{C016FAAF-AC2D-5478-3EDF-32987A259CF7}"/>
          </ac:spMkLst>
        </pc:spChg>
      </pc:sldChg>
      <pc:sldChg chg="addSp delSp modSp add del mod">
        <pc:chgData name="Aurelien Domont" userId="6da7715ce44349b3" providerId="LiveId" clId="{9689C7A7-0C7F-47C6-AB86-2D84D75E0147}" dt="2022-11-01T23:51:15.369" v="3559" actId="2696"/>
        <pc:sldMkLst>
          <pc:docMk/>
          <pc:sldMk cId="2682502401" sldId="2461"/>
        </pc:sldMkLst>
        <pc:spChg chg="mod">
          <ac:chgData name="Aurelien Domont" userId="6da7715ce44349b3" providerId="LiveId" clId="{9689C7A7-0C7F-47C6-AB86-2D84D75E0147}" dt="2022-11-01T05:14:39.315" v="2658" actId="20577"/>
          <ac:spMkLst>
            <pc:docMk/>
            <pc:sldMk cId="2682502401" sldId="2461"/>
            <ac:spMk id="14" creationId="{C9800183-F524-4412-AB39-A6E1A21FF0B3}"/>
          </ac:spMkLst>
        </pc:spChg>
        <pc:picChg chg="add del mod">
          <ac:chgData name="Aurelien Domont" userId="6da7715ce44349b3" providerId="LiveId" clId="{9689C7A7-0C7F-47C6-AB86-2D84D75E0147}" dt="2022-11-01T05:16:23.583" v="2668" actId="478"/>
          <ac:picMkLst>
            <pc:docMk/>
            <pc:sldMk cId="2682502401" sldId="2461"/>
            <ac:picMk id="3" creationId="{E5182AE7-9F8C-F698-1747-CCC1F7F9BF06}"/>
          </ac:picMkLst>
        </pc:picChg>
        <pc:picChg chg="add mod">
          <ac:chgData name="Aurelien Domont" userId="6da7715ce44349b3" providerId="LiveId" clId="{9689C7A7-0C7F-47C6-AB86-2D84D75E0147}" dt="2022-11-01T05:18:31.018" v="2733" actId="108"/>
          <ac:picMkLst>
            <pc:docMk/>
            <pc:sldMk cId="2682502401" sldId="2461"/>
            <ac:picMk id="4" creationId="{929427DD-E397-2CA0-2910-E2AC616137FB}"/>
          </ac:picMkLst>
        </pc:picChg>
        <pc:picChg chg="del">
          <ac:chgData name="Aurelien Domont" userId="6da7715ce44349b3" providerId="LiveId" clId="{9689C7A7-0C7F-47C6-AB86-2D84D75E0147}" dt="2022-11-01T05:14:41.751" v="2659" actId="478"/>
          <ac:picMkLst>
            <pc:docMk/>
            <pc:sldMk cId="2682502401" sldId="2461"/>
            <ac:picMk id="8" creationId="{2B1D554D-BD31-4552-8817-91BEE2A909D8}"/>
          </ac:picMkLst>
        </pc:picChg>
      </pc:sldChg>
      <pc:sldChg chg="addSp modSp add">
        <pc:chgData name="Aurelien Domont" userId="6da7715ce44349b3" providerId="LiveId" clId="{9689C7A7-0C7F-47C6-AB86-2D84D75E0147}" dt="2022-11-02T02:14:44.415" v="3742"/>
        <pc:sldMkLst>
          <pc:docMk/>
          <pc:sldMk cId="2872879580" sldId="2461"/>
        </pc:sldMkLst>
        <pc:spChg chg="add mod">
          <ac:chgData name="Aurelien Domont" userId="6da7715ce44349b3" providerId="LiveId" clId="{9689C7A7-0C7F-47C6-AB86-2D84D75E0147}" dt="2022-11-02T02:14:44.415" v="3742"/>
          <ac:spMkLst>
            <pc:docMk/>
            <pc:sldMk cId="2872879580" sldId="2461"/>
            <ac:spMk id="3" creationId="{15197D78-7F46-162A-728F-75095222EECA}"/>
          </ac:spMkLst>
        </pc:spChg>
      </pc:sldChg>
      <pc:sldChg chg="add">
        <pc:chgData name="Aurelien Domont" userId="6da7715ce44349b3" providerId="LiveId" clId="{9689C7A7-0C7F-47C6-AB86-2D84D75E0147}" dt="2022-11-01T23:51:27.299" v="3560"/>
        <pc:sldMkLst>
          <pc:docMk/>
          <pc:sldMk cId="755354829" sldId="2462"/>
        </pc:sldMkLst>
      </pc:sldChg>
      <pc:sldChg chg="addSp delSp modSp add del mod">
        <pc:chgData name="Aurelien Domont" userId="6da7715ce44349b3" providerId="LiveId" clId="{9689C7A7-0C7F-47C6-AB86-2D84D75E0147}" dt="2022-11-01T23:51:15.369" v="3559" actId="2696"/>
        <pc:sldMkLst>
          <pc:docMk/>
          <pc:sldMk cId="2659329131" sldId="2462"/>
        </pc:sldMkLst>
        <pc:spChg chg="mod">
          <ac:chgData name="Aurelien Domont" userId="6da7715ce44349b3" providerId="LiveId" clId="{9689C7A7-0C7F-47C6-AB86-2D84D75E0147}" dt="2022-11-01T05:17:03.961" v="2689" actId="20577"/>
          <ac:spMkLst>
            <pc:docMk/>
            <pc:sldMk cId="2659329131" sldId="2462"/>
            <ac:spMk id="14" creationId="{C9800183-F524-4412-AB39-A6E1A21FF0B3}"/>
          </ac:spMkLst>
        </pc:spChg>
        <pc:picChg chg="add mod">
          <ac:chgData name="Aurelien Domont" userId="6da7715ce44349b3" providerId="LiveId" clId="{9689C7A7-0C7F-47C6-AB86-2D84D75E0147}" dt="2022-11-01T05:17:41.075" v="2702" actId="1076"/>
          <ac:picMkLst>
            <pc:docMk/>
            <pc:sldMk cId="2659329131" sldId="2462"/>
            <ac:picMk id="3" creationId="{94EF367A-E465-4267-5117-2D6C1191392F}"/>
          </ac:picMkLst>
        </pc:picChg>
        <pc:picChg chg="del">
          <ac:chgData name="Aurelien Domont" userId="6da7715ce44349b3" providerId="LiveId" clId="{9689C7A7-0C7F-47C6-AB86-2D84D75E0147}" dt="2022-11-01T05:17:05.714" v="2690" actId="478"/>
          <ac:picMkLst>
            <pc:docMk/>
            <pc:sldMk cId="2659329131" sldId="2462"/>
            <ac:picMk id="4" creationId="{929427DD-E397-2CA0-2910-E2AC616137FB}"/>
          </ac:picMkLst>
        </pc:picChg>
      </pc:sldChg>
      <pc:sldChg chg="addSp delSp modSp add del mod">
        <pc:chgData name="Aurelien Domont" userId="6da7715ce44349b3" providerId="LiveId" clId="{9689C7A7-0C7F-47C6-AB86-2D84D75E0147}" dt="2022-11-01T23:51:15.369" v="3559" actId="2696"/>
        <pc:sldMkLst>
          <pc:docMk/>
          <pc:sldMk cId="222883797" sldId="2463"/>
        </pc:sldMkLst>
        <pc:spChg chg="add mod">
          <ac:chgData name="Aurelien Domont" userId="6da7715ce44349b3" providerId="LiveId" clId="{9689C7A7-0C7F-47C6-AB86-2D84D75E0147}" dt="2022-11-01T05:18:11.756" v="2727"/>
          <ac:spMkLst>
            <pc:docMk/>
            <pc:sldMk cId="222883797" sldId="2463"/>
            <ac:spMk id="4" creationId="{DDFCBB1C-96F8-3D38-779A-1512B835D95A}"/>
          </ac:spMkLst>
        </pc:spChg>
        <pc:picChg chg="del">
          <ac:chgData name="Aurelien Domont" userId="6da7715ce44349b3" providerId="LiveId" clId="{9689C7A7-0C7F-47C6-AB86-2D84D75E0147}" dt="2022-11-01T05:18:06.515" v="2726" actId="478"/>
          <ac:picMkLst>
            <pc:docMk/>
            <pc:sldMk cId="222883797" sldId="2463"/>
            <ac:picMk id="3" creationId="{94EF367A-E465-4267-5117-2D6C1191392F}"/>
          </ac:picMkLst>
        </pc:picChg>
        <pc:picChg chg="add mod">
          <ac:chgData name="Aurelien Domont" userId="6da7715ce44349b3" providerId="LiveId" clId="{9689C7A7-0C7F-47C6-AB86-2D84D75E0147}" dt="2022-11-01T05:18:32.417" v="2734" actId="108"/>
          <ac:picMkLst>
            <pc:docMk/>
            <pc:sldMk cId="222883797" sldId="2463"/>
            <ac:picMk id="5" creationId="{6327559C-E388-0D17-4533-F405C93B1A14}"/>
          </ac:picMkLst>
        </pc:picChg>
      </pc:sldChg>
      <pc:sldChg chg="add">
        <pc:chgData name="Aurelien Domont" userId="6da7715ce44349b3" providerId="LiveId" clId="{9689C7A7-0C7F-47C6-AB86-2D84D75E0147}" dt="2022-11-01T23:51:27.299" v="3560"/>
        <pc:sldMkLst>
          <pc:docMk/>
          <pc:sldMk cId="416768504" sldId="2463"/>
        </pc:sldMkLst>
      </pc:sldChg>
      <pc:sldChg chg="add">
        <pc:chgData name="Aurelien Domont" userId="6da7715ce44349b3" providerId="LiveId" clId="{9689C7A7-0C7F-47C6-AB86-2D84D75E0147}" dt="2022-11-01T23:51:27.299" v="3560"/>
        <pc:sldMkLst>
          <pc:docMk/>
          <pc:sldMk cId="1759724464" sldId="2464"/>
        </pc:sldMkLst>
      </pc:sldChg>
      <pc:sldChg chg="addSp delSp modSp add del mod">
        <pc:chgData name="Aurelien Domont" userId="6da7715ce44349b3" providerId="LiveId" clId="{9689C7A7-0C7F-47C6-AB86-2D84D75E0147}" dt="2022-11-01T23:51:15.369" v="3559" actId="2696"/>
        <pc:sldMkLst>
          <pc:docMk/>
          <pc:sldMk cId="4284188489" sldId="2464"/>
        </pc:sldMkLst>
        <pc:spChg chg="mod">
          <ac:chgData name="Aurelien Domont" userId="6da7715ce44349b3" providerId="LiveId" clId="{9689C7A7-0C7F-47C6-AB86-2D84D75E0147}" dt="2022-11-01T05:19:14.251" v="2741" actId="20577"/>
          <ac:spMkLst>
            <pc:docMk/>
            <pc:sldMk cId="4284188489" sldId="2464"/>
            <ac:spMk id="14" creationId="{C9800183-F524-4412-AB39-A6E1A21FF0B3}"/>
          </ac:spMkLst>
        </pc:spChg>
        <pc:picChg chg="del">
          <ac:chgData name="Aurelien Domont" userId="6da7715ce44349b3" providerId="LiveId" clId="{9689C7A7-0C7F-47C6-AB86-2D84D75E0147}" dt="2022-11-01T05:19:16.216" v="2742" actId="478"/>
          <ac:picMkLst>
            <pc:docMk/>
            <pc:sldMk cId="4284188489" sldId="2464"/>
            <ac:picMk id="3" creationId="{94EF367A-E465-4267-5117-2D6C1191392F}"/>
          </ac:picMkLst>
        </pc:picChg>
        <pc:picChg chg="add mod">
          <ac:chgData name="Aurelien Domont" userId="6da7715ce44349b3" providerId="LiveId" clId="{9689C7A7-0C7F-47C6-AB86-2D84D75E0147}" dt="2022-11-01T05:19:27.732" v="2746" actId="1076"/>
          <ac:picMkLst>
            <pc:docMk/>
            <pc:sldMk cId="4284188489" sldId="2464"/>
            <ac:picMk id="4" creationId="{A8D6B7D2-A2BD-21E0-340A-4E4D5B2C10C5}"/>
          </ac:picMkLst>
        </pc:picChg>
      </pc:sldChg>
      <pc:sldChg chg="add">
        <pc:chgData name="Aurelien Domont" userId="6da7715ce44349b3" providerId="LiveId" clId="{9689C7A7-0C7F-47C6-AB86-2D84D75E0147}" dt="2022-11-01T23:51:27.299" v="3560"/>
        <pc:sldMkLst>
          <pc:docMk/>
          <pc:sldMk cId="550690529" sldId="2465"/>
        </pc:sldMkLst>
      </pc:sldChg>
      <pc:sldChg chg="addSp delSp modSp add del mod">
        <pc:chgData name="Aurelien Domont" userId="6da7715ce44349b3" providerId="LiveId" clId="{9689C7A7-0C7F-47C6-AB86-2D84D75E0147}" dt="2022-11-01T23:51:15.369" v="3559" actId="2696"/>
        <pc:sldMkLst>
          <pc:docMk/>
          <pc:sldMk cId="1280155195" sldId="2465"/>
        </pc:sldMkLst>
        <pc:spChg chg="add mod">
          <ac:chgData name="Aurelien Domont" userId="6da7715ce44349b3" providerId="LiveId" clId="{9689C7A7-0C7F-47C6-AB86-2D84D75E0147}" dt="2022-11-01T05:19:34.984" v="2748"/>
          <ac:spMkLst>
            <pc:docMk/>
            <pc:sldMk cId="1280155195" sldId="2465"/>
            <ac:spMk id="3" creationId="{F2D94E16-43AF-092E-60B1-18CB26028698}"/>
          </ac:spMkLst>
        </pc:spChg>
        <pc:picChg chg="del">
          <ac:chgData name="Aurelien Domont" userId="6da7715ce44349b3" providerId="LiveId" clId="{9689C7A7-0C7F-47C6-AB86-2D84D75E0147}" dt="2022-11-01T05:19:36.998" v="2749" actId="478"/>
          <ac:picMkLst>
            <pc:docMk/>
            <pc:sldMk cId="1280155195" sldId="2465"/>
            <ac:picMk id="4" creationId="{A8D6B7D2-A2BD-21E0-340A-4E4D5B2C10C5}"/>
          </ac:picMkLst>
        </pc:picChg>
        <pc:picChg chg="add mod">
          <ac:chgData name="Aurelien Domont" userId="6da7715ce44349b3" providerId="LiveId" clId="{9689C7A7-0C7F-47C6-AB86-2D84D75E0147}" dt="2022-11-01T05:19:55.720" v="2755" actId="14100"/>
          <ac:picMkLst>
            <pc:docMk/>
            <pc:sldMk cId="1280155195" sldId="2465"/>
            <ac:picMk id="5" creationId="{ABB97AC4-2C56-3C91-E0F1-6899F6B252BF}"/>
          </ac:picMkLst>
        </pc:picChg>
      </pc:sldChg>
      <pc:sldChg chg="modSp add mod">
        <pc:chgData name="Aurelien Domont" userId="6da7715ce44349b3" providerId="LiveId" clId="{9689C7A7-0C7F-47C6-AB86-2D84D75E0147}" dt="2022-11-02T02:15:26.954" v="3772" actId="20577"/>
        <pc:sldMkLst>
          <pc:docMk/>
          <pc:sldMk cId="2368832898" sldId="2466"/>
        </pc:sldMkLst>
        <pc:spChg chg="mod">
          <ac:chgData name="Aurelien Domont" userId="6da7715ce44349b3" providerId="LiveId" clId="{9689C7A7-0C7F-47C6-AB86-2D84D75E0147}" dt="2022-11-02T02:15:26.954" v="3772" actId="20577"/>
          <ac:spMkLst>
            <pc:docMk/>
            <pc:sldMk cId="2368832898" sldId="2466"/>
            <ac:spMk id="5" creationId="{A76B6D72-6B4C-C55E-9FD6-8E7E8134B5BA}"/>
          </ac:spMkLst>
        </pc:spChg>
      </pc:sldChg>
      <pc:sldChg chg="addSp modSp add del mod">
        <pc:chgData name="Aurelien Domont" userId="6da7715ce44349b3" providerId="LiveId" clId="{9689C7A7-0C7F-47C6-AB86-2D84D75E0147}" dt="2022-11-01T23:51:15.369" v="3559" actId="2696"/>
        <pc:sldMkLst>
          <pc:docMk/>
          <pc:sldMk cId="2795387222" sldId="2466"/>
        </pc:sldMkLst>
        <pc:spChg chg="add mod">
          <ac:chgData name="Aurelien Domont" userId="6da7715ce44349b3" providerId="LiveId" clId="{9689C7A7-0C7F-47C6-AB86-2D84D75E0147}" dt="2022-11-01T05:20:25.183" v="2770" actId="20577"/>
          <ac:spMkLst>
            <pc:docMk/>
            <pc:sldMk cId="2795387222" sldId="2466"/>
            <ac:spMk id="4" creationId="{341FD4B3-C389-56A7-DADA-1A5DCED19D97}"/>
          </ac:spMkLst>
        </pc:spChg>
        <pc:spChg chg="add mod">
          <ac:chgData name="Aurelien Domont" userId="6da7715ce44349b3" providerId="LiveId" clId="{9689C7A7-0C7F-47C6-AB86-2D84D75E0147}" dt="2022-11-01T05:30:47.678" v="3102" actId="20577"/>
          <ac:spMkLst>
            <pc:docMk/>
            <pc:sldMk cId="2795387222" sldId="2466"/>
            <ac:spMk id="5" creationId="{A76B6D72-6B4C-C55E-9FD6-8E7E8134B5BA}"/>
          </ac:spMkLst>
        </pc:spChg>
      </pc:sldChg>
      <pc:sldChg chg="addSp modSp add mod">
        <pc:chgData name="Aurelien Domont" userId="6da7715ce44349b3" providerId="LiveId" clId="{9689C7A7-0C7F-47C6-AB86-2D84D75E0147}" dt="2022-11-01T05:23:03.369" v="3058" actId="20577"/>
        <pc:sldMkLst>
          <pc:docMk/>
          <pc:sldMk cId="1068178709" sldId="2467"/>
        </pc:sldMkLst>
        <pc:spChg chg="add mod">
          <ac:chgData name="Aurelien Domont" userId="6da7715ce44349b3" providerId="LiveId" clId="{9689C7A7-0C7F-47C6-AB86-2D84D75E0147}" dt="2022-11-01T05:22:07.115" v="3019" actId="20577"/>
          <ac:spMkLst>
            <pc:docMk/>
            <pc:sldMk cId="1068178709" sldId="2467"/>
            <ac:spMk id="3" creationId="{02E5A2CD-B57E-192E-504F-E290FB643372}"/>
          </ac:spMkLst>
        </pc:spChg>
        <pc:spChg chg="add mod">
          <ac:chgData name="Aurelien Domont" userId="6da7715ce44349b3" providerId="LiveId" clId="{9689C7A7-0C7F-47C6-AB86-2D84D75E0147}" dt="2022-11-01T05:23:03.369" v="3058" actId="20577"/>
          <ac:spMkLst>
            <pc:docMk/>
            <pc:sldMk cId="1068178709" sldId="2467"/>
            <ac:spMk id="4" creationId="{400873DE-4C3D-90CF-8E60-5BBE110EF55D}"/>
          </ac:spMkLst>
        </pc:spChg>
      </pc:sldChg>
      <pc:sldChg chg="add">
        <pc:chgData name="Aurelien Domont" userId="6da7715ce44349b3" providerId="LiveId" clId="{9689C7A7-0C7F-47C6-AB86-2D84D75E0147}" dt="2022-11-01T23:51:27.299" v="3560"/>
        <pc:sldMkLst>
          <pc:docMk/>
          <pc:sldMk cId="2209286233" sldId="2468"/>
        </pc:sldMkLst>
      </pc:sldChg>
      <pc:sldChg chg="addSp delSp modSp add del mod">
        <pc:chgData name="Aurelien Domont" userId="6da7715ce44349b3" providerId="LiveId" clId="{9689C7A7-0C7F-47C6-AB86-2D84D75E0147}" dt="2022-11-01T23:51:15.369" v="3559" actId="2696"/>
        <pc:sldMkLst>
          <pc:docMk/>
          <pc:sldMk cId="4162710523" sldId="2468"/>
        </pc:sldMkLst>
        <pc:spChg chg="mod">
          <ac:chgData name="Aurelien Domont" userId="6da7715ce44349b3" providerId="LiveId" clId="{9689C7A7-0C7F-47C6-AB86-2D84D75E0147}" dt="2022-11-01T05:30:29.214" v="3074" actId="20577"/>
          <ac:spMkLst>
            <pc:docMk/>
            <pc:sldMk cId="4162710523" sldId="2468"/>
            <ac:spMk id="14" creationId="{C9800183-F524-4412-AB39-A6E1A21FF0B3}"/>
          </ac:spMkLst>
        </pc:spChg>
        <pc:picChg chg="add mod">
          <ac:chgData name="Aurelien Domont" userId="6da7715ce44349b3" providerId="LiveId" clId="{9689C7A7-0C7F-47C6-AB86-2D84D75E0147}" dt="2022-11-01T05:31:17.970" v="3110" actId="1076"/>
          <ac:picMkLst>
            <pc:docMk/>
            <pc:sldMk cId="4162710523" sldId="2468"/>
            <ac:picMk id="3" creationId="{26FEC574-DB8D-8DFA-ED21-C4C8C5187C39}"/>
          </ac:picMkLst>
        </pc:picChg>
        <pc:picChg chg="del">
          <ac:chgData name="Aurelien Domont" userId="6da7715ce44349b3" providerId="LiveId" clId="{9689C7A7-0C7F-47C6-AB86-2D84D75E0147}" dt="2022-11-01T05:30:53.354" v="3103" actId="478"/>
          <ac:picMkLst>
            <pc:docMk/>
            <pc:sldMk cId="4162710523" sldId="2468"/>
            <ac:picMk id="4" creationId="{A8D6B7D2-A2BD-21E0-340A-4E4D5B2C10C5}"/>
          </ac:picMkLst>
        </pc:picChg>
      </pc:sldChg>
      <pc:sldChg chg="addSp delSp modSp add del mod">
        <pc:chgData name="Aurelien Domont" userId="6da7715ce44349b3" providerId="LiveId" clId="{9689C7A7-0C7F-47C6-AB86-2D84D75E0147}" dt="2022-11-01T23:51:15.369" v="3559" actId="2696"/>
        <pc:sldMkLst>
          <pc:docMk/>
          <pc:sldMk cId="571438739" sldId="2469"/>
        </pc:sldMkLst>
        <pc:spChg chg="add mod">
          <ac:chgData name="Aurelien Domont" userId="6da7715ce44349b3" providerId="LiveId" clId="{9689C7A7-0C7F-47C6-AB86-2D84D75E0147}" dt="2022-11-01T05:31:28.231" v="3112"/>
          <ac:spMkLst>
            <pc:docMk/>
            <pc:sldMk cId="571438739" sldId="2469"/>
            <ac:spMk id="4" creationId="{CEAF804A-396B-A49A-E046-788982A15960}"/>
          </ac:spMkLst>
        </pc:spChg>
        <pc:picChg chg="del">
          <ac:chgData name="Aurelien Domont" userId="6da7715ce44349b3" providerId="LiveId" clId="{9689C7A7-0C7F-47C6-AB86-2D84D75E0147}" dt="2022-11-01T05:31:29.418" v="3113" actId="478"/>
          <ac:picMkLst>
            <pc:docMk/>
            <pc:sldMk cId="571438739" sldId="2469"/>
            <ac:picMk id="3" creationId="{26FEC574-DB8D-8DFA-ED21-C4C8C5187C39}"/>
          </ac:picMkLst>
        </pc:picChg>
        <pc:picChg chg="add mod">
          <ac:chgData name="Aurelien Domont" userId="6da7715ce44349b3" providerId="LiveId" clId="{9689C7A7-0C7F-47C6-AB86-2D84D75E0147}" dt="2022-11-01T05:31:44.779" v="3117" actId="1076"/>
          <ac:picMkLst>
            <pc:docMk/>
            <pc:sldMk cId="571438739" sldId="2469"/>
            <ac:picMk id="5" creationId="{C2B590CE-FC26-96F7-1AF2-FBDF77B99C42}"/>
          </ac:picMkLst>
        </pc:picChg>
      </pc:sldChg>
      <pc:sldChg chg="add">
        <pc:chgData name="Aurelien Domont" userId="6da7715ce44349b3" providerId="LiveId" clId="{9689C7A7-0C7F-47C6-AB86-2D84D75E0147}" dt="2022-11-01T23:51:27.299" v="3560"/>
        <pc:sldMkLst>
          <pc:docMk/>
          <pc:sldMk cId="1326508470" sldId="2469"/>
        </pc:sldMkLst>
      </pc:sldChg>
      <pc:sldChg chg="addSp delSp modSp add mod">
        <pc:chgData name="Aurelien Domont" userId="6da7715ce44349b3" providerId="LiveId" clId="{9689C7A7-0C7F-47C6-AB86-2D84D75E0147}" dt="2022-11-01T23:44:38.672" v="3447"/>
        <pc:sldMkLst>
          <pc:docMk/>
          <pc:sldMk cId="974899473" sldId="2470"/>
        </pc:sldMkLst>
        <pc:spChg chg="add mod">
          <ac:chgData name="Aurelien Domont" userId="6da7715ce44349b3" providerId="LiveId" clId="{9689C7A7-0C7F-47C6-AB86-2D84D75E0147}" dt="2022-11-01T23:44:38.672" v="3447"/>
          <ac:spMkLst>
            <pc:docMk/>
            <pc:sldMk cId="974899473" sldId="2470"/>
            <ac:spMk id="4" creationId="{3AACF332-1170-5C27-9948-16C7320F13B2}"/>
          </ac:spMkLst>
        </pc:spChg>
        <pc:spChg chg="add mod">
          <ac:chgData name="Aurelien Domont" userId="6da7715ce44349b3" providerId="LiveId" clId="{9689C7A7-0C7F-47C6-AB86-2D84D75E0147}" dt="2022-11-01T23:44:38.672" v="3447"/>
          <ac:spMkLst>
            <pc:docMk/>
            <pc:sldMk cId="974899473" sldId="2470"/>
            <ac:spMk id="5" creationId="{B7261FB2-4AD7-7C70-F1B4-8384224CAAF1}"/>
          </ac:spMkLst>
        </pc:spChg>
        <pc:spChg chg="del">
          <ac:chgData name="Aurelien Domont" userId="6da7715ce44349b3" providerId="LiveId" clId="{9689C7A7-0C7F-47C6-AB86-2D84D75E0147}" dt="2022-11-01T23:44:38.388" v="3446" actId="478"/>
          <ac:spMkLst>
            <pc:docMk/>
            <pc:sldMk cId="974899473" sldId="2470"/>
            <ac:spMk id="35" creationId="{7758CDCB-3EC2-2649-205A-634E6CD09FD3}"/>
          </ac:spMkLst>
        </pc:spChg>
        <pc:spChg chg="del">
          <ac:chgData name="Aurelien Domont" userId="6da7715ce44349b3" providerId="LiveId" clId="{9689C7A7-0C7F-47C6-AB86-2D84D75E0147}" dt="2022-11-01T23:44:38.388" v="3446" actId="478"/>
          <ac:spMkLst>
            <pc:docMk/>
            <pc:sldMk cId="974899473" sldId="2470"/>
            <ac:spMk id="37" creationId="{B15EC3E4-C265-C1FD-D742-B35B540F34C8}"/>
          </ac:spMkLst>
        </pc:spChg>
      </pc:sldChg>
      <pc:sldChg chg="addSp delSp modSp add mod">
        <pc:chgData name="Aurelien Domont" userId="6da7715ce44349b3" providerId="LiveId" clId="{9689C7A7-0C7F-47C6-AB86-2D84D75E0147}" dt="2022-11-01T06:20:14.319" v="3192" actId="108"/>
        <pc:sldMkLst>
          <pc:docMk/>
          <pc:sldMk cId="3189877031" sldId="2471"/>
        </pc:sldMkLst>
        <pc:spChg chg="mod">
          <ac:chgData name="Aurelien Domont" userId="6da7715ce44349b3" providerId="LiveId" clId="{9689C7A7-0C7F-47C6-AB86-2D84D75E0147}" dt="2022-11-01T06:19:59.874" v="3187" actId="20577"/>
          <ac:spMkLst>
            <pc:docMk/>
            <pc:sldMk cId="3189877031" sldId="2471"/>
            <ac:spMk id="14" creationId="{C9800183-F524-4412-AB39-A6E1A21FF0B3}"/>
          </ac:spMkLst>
        </pc:spChg>
        <pc:picChg chg="add mod">
          <ac:chgData name="Aurelien Domont" userId="6da7715ce44349b3" providerId="LiveId" clId="{9689C7A7-0C7F-47C6-AB86-2D84D75E0147}" dt="2022-11-01T06:20:14.319" v="3192" actId="108"/>
          <ac:picMkLst>
            <pc:docMk/>
            <pc:sldMk cId="3189877031" sldId="2471"/>
            <ac:picMk id="3" creationId="{09517F1C-5104-E9D1-D846-8452907DC4C0}"/>
          </ac:picMkLst>
        </pc:picChg>
        <pc:picChg chg="del">
          <ac:chgData name="Aurelien Domont" userId="6da7715ce44349b3" providerId="LiveId" clId="{9689C7A7-0C7F-47C6-AB86-2D84D75E0147}" dt="2022-11-01T06:20:04.622" v="3188" actId="478"/>
          <ac:picMkLst>
            <pc:docMk/>
            <pc:sldMk cId="3189877031" sldId="2471"/>
            <ac:picMk id="4" creationId="{929427DD-E397-2CA0-2910-E2AC616137FB}"/>
          </ac:picMkLst>
        </pc:picChg>
      </pc:sldChg>
      <pc:sldChg chg="addSp delSp modSp add mod">
        <pc:chgData name="Aurelien Domont" userId="6da7715ce44349b3" providerId="LiveId" clId="{9689C7A7-0C7F-47C6-AB86-2D84D75E0147}" dt="2022-11-01T06:20:59.303" v="3214" actId="1076"/>
        <pc:sldMkLst>
          <pc:docMk/>
          <pc:sldMk cId="3546586697" sldId="2472"/>
        </pc:sldMkLst>
        <pc:spChg chg="mod">
          <ac:chgData name="Aurelien Domont" userId="6da7715ce44349b3" providerId="LiveId" clId="{9689C7A7-0C7F-47C6-AB86-2D84D75E0147}" dt="2022-11-01T06:20:42.884" v="3207" actId="20577"/>
          <ac:spMkLst>
            <pc:docMk/>
            <pc:sldMk cId="3546586697" sldId="2472"/>
            <ac:spMk id="14" creationId="{C9800183-F524-4412-AB39-A6E1A21FF0B3}"/>
          </ac:spMkLst>
        </pc:spChg>
        <pc:picChg chg="del">
          <ac:chgData name="Aurelien Domont" userId="6da7715ce44349b3" providerId="LiveId" clId="{9689C7A7-0C7F-47C6-AB86-2D84D75E0147}" dt="2022-11-01T06:20:45.288" v="3208" actId="478"/>
          <ac:picMkLst>
            <pc:docMk/>
            <pc:sldMk cId="3546586697" sldId="2472"/>
            <ac:picMk id="3" creationId="{09517F1C-5104-E9D1-D846-8452907DC4C0}"/>
          </ac:picMkLst>
        </pc:picChg>
        <pc:picChg chg="add mod">
          <ac:chgData name="Aurelien Domont" userId="6da7715ce44349b3" providerId="LiveId" clId="{9689C7A7-0C7F-47C6-AB86-2D84D75E0147}" dt="2022-11-01T06:20:59.303" v="3214" actId="1076"/>
          <ac:picMkLst>
            <pc:docMk/>
            <pc:sldMk cId="3546586697" sldId="2472"/>
            <ac:picMk id="4" creationId="{3AE48FC1-CE01-6B40-8A92-BE15B42EE898}"/>
          </ac:picMkLst>
        </pc:picChg>
      </pc:sldChg>
      <pc:sldChg chg="addSp delSp modSp add mod">
        <pc:chgData name="Aurelien Domont" userId="6da7715ce44349b3" providerId="LiveId" clId="{9689C7A7-0C7F-47C6-AB86-2D84D75E0147}" dt="2022-11-01T06:22:02.842" v="3224" actId="1076"/>
        <pc:sldMkLst>
          <pc:docMk/>
          <pc:sldMk cId="262588288" sldId="2473"/>
        </pc:sldMkLst>
        <pc:spChg chg="add mod">
          <ac:chgData name="Aurelien Domont" userId="6da7715ce44349b3" providerId="LiveId" clId="{9689C7A7-0C7F-47C6-AB86-2D84D75E0147}" dt="2022-11-01T06:21:42.266" v="3216"/>
          <ac:spMkLst>
            <pc:docMk/>
            <pc:sldMk cId="262588288" sldId="2473"/>
            <ac:spMk id="3" creationId="{D747995E-58D7-08A1-74E2-C2D6EDA416C2}"/>
          </ac:spMkLst>
        </pc:spChg>
        <pc:picChg chg="del">
          <ac:chgData name="Aurelien Domont" userId="6da7715ce44349b3" providerId="LiveId" clId="{9689C7A7-0C7F-47C6-AB86-2D84D75E0147}" dt="2022-11-01T06:21:46.911" v="3217" actId="478"/>
          <ac:picMkLst>
            <pc:docMk/>
            <pc:sldMk cId="262588288" sldId="2473"/>
            <ac:picMk id="4" creationId="{3AE48FC1-CE01-6B40-8A92-BE15B42EE898}"/>
          </ac:picMkLst>
        </pc:picChg>
        <pc:picChg chg="add mod">
          <ac:chgData name="Aurelien Domont" userId="6da7715ce44349b3" providerId="LiveId" clId="{9689C7A7-0C7F-47C6-AB86-2D84D75E0147}" dt="2022-11-01T06:22:02.842" v="3224" actId="1076"/>
          <ac:picMkLst>
            <pc:docMk/>
            <pc:sldMk cId="262588288" sldId="2473"/>
            <ac:picMk id="5" creationId="{62492B30-AD23-0FB6-F984-D83BB292E16E}"/>
          </ac:picMkLst>
        </pc:picChg>
      </pc:sldChg>
      <pc:sldChg chg="addSp delSp modSp add mod">
        <pc:chgData name="Aurelien Domont" userId="6da7715ce44349b3" providerId="LiveId" clId="{9689C7A7-0C7F-47C6-AB86-2D84D75E0147}" dt="2022-11-01T06:23:04.558" v="3260" actId="1076"/>
        <pc:sldMkLst>
          <pc:docMk/>
          <pc:sldMk cId="1187772245" sldId="2474"/>
        </pc:sldMkLst>
        <pc:spChg chg="mod">
          <ac:chgData name="Aurelien Domont" userId="6da7715ce44349b3" providerId="LiveId" clId="{9689C7A7-0C7F-47C6-AB86-2D84D75E0147}" dt="2022-11-01T06:22:26.970" v="3251" actId="20577"/>
          <ac:spMkLst>
            <pc:docMk/>
            <pc:sldMk cId="1187772245" sldId="2474"/>
            <ac:spMk id="14" creationId="{C9800183-F524-4412-AB39-A6E1A21FF0B3}"/>
          </ac:spMkLst>
        </pc:spChg>
        <pc:picChg chg="add mod">
          <ac:chgData name="Aurelien Domont" userId="6da7715ce44349b3" providerId="LiveId" clId="{9689C7A7-0C7F-47C6-AB86-2D84D75E0147}" dt="2022-11-01T06:23:04.558" v="3260" actId="1076"/>
          <ac:picMkLst>
            <pc:docMk/>
            <pc:sldMk cId="1187772245" sldId="2474"/>
            <ac:picMk id="3" creationId="{D835ED6A-F765-C102-2270-F6CD4CADF054}"/>
          </ac:picMkLst>
        </pc:picChg>
        <pc:picChg chg="del">
          <ac:chgData name="Aurelien Domont" userId="6da7715ce44349b3" providerId="LiveId" clId="{9689C7A7-0C7F-47C6-AB86-2D84D75E0147}" dt="2022-11-01T06:22:35.436" v="3252" actId="478"/>
          <ac:picMkLst>
            <pc:docMk/>
            <pc:sldMk cId="1187772245" sldId="2474"/>
            <ac:picMk id="4" creationId="{3AE48FC1-CE01-6B40-8A92-BE15B42EE898}"/>
          </ac:picMkLst>
        </pc:picChg>
      </pc:sldChg>
      <pc:sldChg chg="addSp delSp modSp add mod">
        <pc:chgData name="Aurelien Domont" userId="6da7715ce44349b3" providerId="LiveId" clId="{9689C7A7-0C7F-47C6-AB86-2D84D75E0147}" dt="2022-11-01T06:23:36.946" v="3269" actId="108"/>
        <pc:sldMkLst>
          <pc:docMk/>
          <pc:sldMk cId="509535835" sldId="2475"/>
        </pc:sldMkLst>
        <pc:spChg chg="add mod">
          <ac:chgData name="Aurelien Domont" userId="6da7715ce44349b3" providerId="LiveId" clId="{9689C7A7-0C7F-47C6-AB86-2D84D75E0147}" dt="2022-11-01T06:23:14.670" v="3262"/>
          <ac:spMkLst>
            <pc:docMk/>
            <pc:sldMk cId="509535835" sldId="2475"/>
            <ac:spMk id="4" creationId="{92F75258-7DD1-727D-25EA-2DB2A6C6891C}"/>
          </ac:spMkLst>
        </pc:spChg>
        <pc:picChg chg="del">
          <ac:chgData name="Aurelien Domont" userId="6da7715ce44349b3" providerId="LiveId" clId="{9689C7A7-0C7F-47C6-AB86-2D84D75E0147}" dt="2022-11-01T06:23:16.077" v="3263" actId="478"/>
          <ac:picMkLst>
            <pc:docMk/>
            <pc:sldMk cId="509535835" sldId="2475"/>
            <ac:picMk id="3" creationId="{D835ED6A-F765-C102-2270-F6CD4CADF054}"/>
          </ac:picMkLst>
        </pc:picChg>
        <pc:picChg chg="add mod">
          <ac:chgData name="Aurelien Domont" userId="6da7715ce44349b3" providerId="LiveId" clId="{9689C7A7-0C7F-47C6-AB86-2D84D75E0147}" dt="2022-11-01T06:23:36.946" v="3269" actId="108"/>
          <ac:picMkLst>
            <pc:docMk/>
            <pc:sldMk cId="509535835" sldId="2475"/>
            <ac:picMk id="5" creationId="{987A0E10-8DF5-6B96-283A-9028002E8E23}"/>
          </ac:picMkLst>
        </pc:picChg>
      </pc:sldChg>
      <pc:sldChg chg="addSp delSp modSp add mod">
        <pc:chgData name="Aurelien Domont" userId="6da7715ce44349b3" providerId="LiveId" clId="{9689C7A7-0C7F-47C6-AB86-2D84D75E0147}" dt="2022-11-01T06:27:16.215" v="3362" actId="14100"/>
        <pc:sldMkLst>
          <pc:docMk/>
          <pc:sldMk cId="1897961408" sldId="2476"/>
        </pc:sldMkLst>
        <pc:spChg chg="add mod">
          <ac:chgData name="Aurelien Domont" userId="6da7715ce44349b3" providerId="LiveId" clId="{9689C7A7-0C7F-47C6-AB86-2D84D75E0147}" dt="2022-11-01T06:27:16.215" v="3362" actId="14100"/>
          <ac:spMkLst>
            <pc:docMk/>
            <pc:sldMk cId="1897961408" sldId="2476"/>
            <ac:spMk id="3" creationId="{3EAF51C8-95FD-F6DF-4398-0B26841FA83B}"/>
          </ac:spMkLst>
        </pc:spChg>
        <pc:spChg chg="mod">
          <ac:chgData name="Aurelien Domont" userId="6da7715ce44349b3" providerId="LiveId" clId="{9689C7A7-0C7F-47C6-AB86-2D84D75E0147}" dt="2022-11-01T06:23:50.873" v="3287" actId="20577"/>
          <ac:spMkLst>
            <pc:docMk/>
            <pc:sldMk cId="1897961408" sldId="2476"/>
            <ac:spMk id="4" creationId="{92F75258-7DD1-727D-25EA-2DB2A6C6891C}"/>
          </ac:spMkLst>
        </pc:spChg>
        <pc:spChg chg="del">
          <ac:chgData name="Aurelien Domont" userId="6da7715ce44349b3" providerId="LiveId" clId="{9689C7A7-0C7F-47C6-AB86-2D84D75E0147}" dt="2022-11-01T06:26:23.471" v="3352" actId="478"/>
          <ac:spMkLst>
            <pc:docMk/>
            <pc:sldMk cId="1897961408" sldId="2476"/>
            <ac:spMk id="9" creationId="{7091EE47-6329-932C-6C99-7A505D7BFB78}"/>
          </ac:spMkLst>
        </pc:spChg>
        <pc:spChg chg="mod">
          <ac:chgData name="Aurelien Domont" userId="6da7715ce44349b3" providerId="LiveId" clId="{9689C7A7-0C7F-47C6-AB86-2D84D75E0147}" dt="2022-11-01T06:25:50.640" v="3351" actId="20577"/>
          <ac:spMkLst>
            <pc:docMk/>
            <pc:sldMk cId="1897961408" sldId="2476"/>
            <ac:spMk id="14" creationId="{C9800183-F524-4412-AB39-A6E1A21FF0B3}"/>
          </ac:spMkLst>
        </pc:spChg>
        <pc:picChg chg="mod">
          <ac:chgData name="Aurelien Domont" userId="6da7715ce44349b3" providerId="LiveId" clId="{9689C7A7-0C7F-47C6-AB86-2D84D75E0147}" dt="2022-11-01T06:26:27.058" v="3354" actId="1076"/>
          <ac:picMkLst>
            <pc:docMk/>
            <pc:sldMk cId="1897961408" sldId="2476"/>
            <ac:picMk id="5" creationId="{987A0E10-8DF5-6B96-283A-9028002E8E23}"/>
          </ac:picMkLst>
        </pc:picChg>
      </pc:sldChg>
      <pc:sldChg chg="addSp delSp modSp add mod">
        <pc:chgData name="Aurelien Domont" userId="6da7715ce44349b3" providerId="LiveId" clId="{9689C7A7-0C7F-47C6-AB86-2D84D75E0147}" dt="2022-11-01T23:44:34.781" v="3445"/>
        <pc:sldMkLst>
          <pc:docMk/>
          <pc:sldMk cId="987616757" sldId="2477"/>
        </pc:sldMkLst>
        <pc:spChg chg="mod">
          <ac:chgData name="Aurelien Domont" userId="6da7715ce44349b3" providerId="LiveId" clId="{9689C7A7-0C7F-47C6-AB86-2D84D75E0147}" dt="2022-11-01T06:29:44.865" v="3373" actId="1036"/>
          <ac:spMkLst>
            <pc:docMk/>
            <pc:sldMk cId="987616757" sldId="2477"/>
            <ac:spMk id="2" creationId="{547CB403-88D0-99AE-C93F-28EEFD77F877}"/>
          </ac:spMkLst>
        </pc:spChg>
        <pc:spChg chg="add mod">
          <ac:chgData name="Aurelien Domont" userId="6da7715ce44349b3" providerId="LiveId" clId="{9689C7A7-0C7F-47C6-AB86-2D84D75E0147}" dt="2022-11-01T23:44:34.781" v="3445"/>
          <ac:spMkLst>
            <pc:docMk/>
            <pc:sldMk cId="987616757" sldId="2477"/>
            <ac:spMk id="4" creationId="{0A3D5AA3-FF73-78B3-E623-D5118EA6C998}"/>
          </ac:spMkLst>
        </pc:spChg>
        <pc:spChg chg="add mod">
          <ac:chgData name="Aurelien Domont" userId="6da7715ce44349b3" providerId="LiveId" clId="{9689C7A7-0C7F-47C6-AB86-2D84D75E0147}" dt="2022-11-01T23:44:34.781" v="3445"/>
          <ac:spMkLst>
            <pc:docMk/>
            <pc:sldMk cId="987616757" sldId="2477"/>
            <ac:spMk id="5" creationId="{9D1EB981-0157-6851-842C-64081E4964BC}"/>
          </ac:spMkLst>
        </pc:spChg>
        <pc:spChg chg="del">
          <ac:chgData name="Aurelien Domont" userId="6da7715ce44349b3" providerId="LiveId" clId="{9689C7A7-0C7F-47C6-AB86-2D84D75E0147}" dt="2022-11-01T23:44:34.445" v="3444" actId="478"/>
          <ac:spMkLst>
            <pc:docMk/>
            <pc:sldMk cId="987616757" sldId="2477"/>
            <ac:spMk id="35" creationId="{7758CDCB-3EC2-2649-205A-634E6CD09FD3}"/>
          </ac:spMkLst>
        </pc:spChg>
        <pc:spChg chg="del">
          <ac:chgData name="Aurelien Domont" userId="6da7715ce44349b3" providerId="LiveId" clId="{9689C7A7-0C7F-47C6-AB86-2D84D75E0147}" dt="2022-11-01T23:44:34.445" v="3444" actId="478"/>
          <ac:spMkLst>
            <pc:docMk/>
            <pc:sldMk cId="987616757" sldId="2477"/>
            <ac:spMk id="37" creationId="{B15EC3E4-C265-C1FD-D742-B35B540F34C8}"/>
          </ac:spMkLst>
        </pc:spChg>
      </pc:sldChg>
      <pc:sldChg chg="addSp delSp modSp add del mod">
        <pc:chgData name="Aurelien Domont" userId="6da7715ce44349b3" providerId="LiveId" clId="{9689C7A7-0C7F-47C6-AB86-2D84D75E0147}" dt="2022-11-02T01:45:03.656" v="3632" actId="47"/>
        <pc:sldMkLst>
          <pc:docMk/>
          <pc:sldMk cId="2590419844" sldId="2478"/>
        </pc:sldMkLst>
        <pc:spChg chg="del">
          <ac:chgData name="Aurelien Domont" userId="6da7715ce44349b3" providerId="LiveId" clId="{9689C7A7-0C7F-47C6-AB86-2D84D75E0147}" dt="2022-11-01T06:51:08.443" v="3389" actId="478"/>
          <ac:spMkLst>
            <pc:docMk/>
            <pc:sldMk cId="2590419844" sldId="2478"/>
            <ac:spMk id="3" creationId="{28ABFF90-CA61-D219-1450-B3F3BB32E5C4}"/>
          </ac:spMkLst>
        </pc:spChg>
        <pc:spChg chg="del">
          <ac:chgData name="Aurelien Domont" userId="6da7715ce44349b3" providerId="LiveId" clId="{9689C7A7-0C7F-47C6-AB86-2D84D75E0147}" dt="2022-11-01T06:51:08.443" v="3389" actId="478"/>
          <ac:spMkLst>
            <pc:docMk/>
            <pc:sldMk cId="2590419844" sldId="2478"/>
            <ac:spMk id="4" creationId="{A931A8FE-CD4F-3E33-AFD4-16F199163683}"/>
          </ac:spMkLst>
        </pc:spChg>
        <pc:spChg chg="del">
          <ac:chgData name="Aurelien Domont" userId="6da7715ce44349b3" providerId="LiveId" clId="{9689C7A7-0C7F-47C6-AB86-2D84D75E0147}" dt="2022-11-01T06:51:08.443" v="3389" actId="478"/>
          <ac:spMkLst>
            <pc:docMk/>
            <pc:sldMk cId="2590419844" sldId="2478"/>
            <ac:spMk id="5" creationId="{7F2D14F3-9FA7-30BF-DEC9-F9D48018881E}"/>
          </ac:spMkLst>
        </pc:spChg>
        <pc:spChg chg="del">
          <ac:chgData name="Aurelien Domont" userId="6da7715ce44349b3" providerId="LiveId" clId="{9689C7A7-0C7F-47C6-AB86-2D84D75E0147}" dt="2022-11-01T06:51:08.443" v="3389" actId="478"/>
          <ac:spMkLst>
            <pc:docMk/>
            <pc:sldMk cId="2590419844" sldId="2478"/>
            <ac:spMk id="6" creationId="{FDDCD640-0D5B-C692-5687-C0BDB76174D7}"/>
          </ac:spMkLst>
        </pc:spChg>
        <pc:spChg chg="del">
          <ac:chgData name="Aurelien Domont" userId="6da7715ce44349b3" providerId="LiveId" clId="{9689C7A7-0C7F-47C6-AB86-2D84D75E0147}" dt="2022-11-01T06:51:08.443" v="3389" actId="478"/>
          <ac:spMkLst>
            <pc:docMk/>
            <pc:sldMk cId="2590419844" sldId="2478"/>
            <ac:spMk id="7" creationId="{EAA67DEA-E889-A979-B2A8-D84F232548EF}"/>
          </ac:spMkLst>
        </pc:spChg>
        <pc:spChg chg="del">
          <ac:chgData name="Aurelien Domont" userId="6da7715ce44349b3" providerId="LiveId" clId="{9689C7A7-0C7F-47C6-AB86-2D84D75E0147}" dt="2022-11-01T06:51:08.443" v="3389" actId="478"/>
          <ac:spMkLst>
            <pc:docMk/>
            <pc:sldMk cId="2590419844" sldId="2478"/>
            <ac:spMk id="8" creationId="{653150A0-EBDB-6780-F758-008AB94B3ACE}"/>
          </ac:spMkLst>
        </pc:spChg>
        <pc:spChg chg="add mod">
          <ac:chgData name="Aurelien Domont" userId="6da7715ce44349b3" providerId="LiveId" clId="{9689C7A7-0C7F-47C6-AB86-2D84D75E0147}" dt="2022-11-01T06:51:48.263" v="3391" actId="1076"/>
          <ac:spMkLst>
            <pc:docMk/>
            <pc:sldMk cId="2590419844" sldId="2478"/>
            <ac:spMk id="9" creationId="{6F1A4D25-D42D-D9E6-AAF2-FAFA9DDA7185}"/>
          </ac:spMkLst>
        </pc:spChg>
        <pc:spChg chg="add mod">
          <ac:chgData name="Aurelien Domont" userId="6da7715ce44349b3" providerId="LiveId" clId="{9689C7A7-0C7F-47C6-AB86-2D84D75E0147}" dt="2022-11-01T06:51:48.263" v="3391" actId="1076"/>
          <ac:spMkLst>
            <pc:docMk/>
            <pc:sldMk cId="2590419844" sldId="2478"/>
            <ac:spMk id="10" creationId="{43C312FE-1327-37A2-EB6D-A166CC903F06}"/>
          </ac:spMkLst>
        </pc:spChg>
        <pc:spChg chg="add mod">
          <ac:chgData name="Aurelien Domont" userId="6da7715ce44349b3" providerId="LiveId" clId="{9689C7A7-0C7F-47C6-AB86-2D84D75E0147}" dt="2022-11-01T06:51:48.263" v="3391" actId="1076"/>
          <ac:spMkLst>
            <pc:docMk/>
            <pc:sldMk cId="2590419844" sldId="2478"/>
            <ac:spMk id="11" creationId="{96B41B13-80CA-4998-D961-686D63FE259E}"/>
          </ac:spMkLst>
        </pc:spChg>
        <pc:spChg chg="add mod">
          <ac:chgData name="Aurelien Domont" userId="6da7715ce44349b3" providerId="LiveId" clId="{9689C7A7-0C7F-47C6-AB86-2D84D75E0147}" dt="2022-11-01T06:51:48.263" v="3391" actId="1076"/>
          <ac:spMkLst>
            <pc:docMk/>
            <pc:sldMk cId="2590419844" sldId="2478"/>
            <ac:spMk id="12" creationId="{4D9218E9-8B5A-A06D-9E00-DA0D8EF16F57}"/>
          </ac:spMkLst>
        </pc:spChg>
        <pc:spChg chg="mod">
          <ac:chgData name="Aurelien Domont" userId="6da7715ce44349b3" providerId="LiveId" clId="{9689C7A7-0C7F-47C6-AB86-2D84D75E0147}" dt="2022-11-01T06:56:03.265" v="3409" actId="20577"/>
          <ac:spMkLst>
            <pc:docMk/>
            <pc:sldMk cId="2590419844" sldId="2478"/>
            <ac:spMk id="16" creationId="{6C2BB713-9637-4B9B-938F-E9768876782A}"/>
          </ac:spMkLst>
        </pc:spChg>
        <pc:spChg chg="add mod">
          <ac:chgData name="Aurelien Domont" userId="6da7715ce44349b3" providerId="LiveId" clId="{9689C7A7-0C7F-47C6-AB86-2D84D75E0147}" dt="2022-11-01T06:56:46.479" v="3431" actId="20577"/>
          <ac:spMkLst>
            <pc:docMk/>
            <pc:sldMk cId="2590419844" sldId="2478"/>
            <ac:spMk id="17" creationId="{EB66DA0B-23E3-5C67-A7A4-83E322D2F7AD}"/>
          </ac:spMkLst>
        </pc:spChg>
        <pc:spChg chg="del">
          <ac:chgData name="Aurelien Domont" userId="6da7715ce44349b3" providerId="LiveId" clId="{9689C7A7-0C7F-47C6-AB86-2D84D75E0147}" dt="2022-11-01T06:51:07.270" v="3388" actId="478"/>
          <ac:spMkLst>
            <pc:docMk/>
            <pc:sldMk cId="2590419844" sldId="2478"/>
            <ac:spMk id="89" creationId="{5293073A-0CB1-404E-A602-3F3B39B206FF}"/>
          </ac:spMkLst>
        </pc:spChg>
        <pc:spChg chg="del">
          <ac:chgData name="Aurelien Domont" userId="6da7715ce44349b3" providerId="LiveId" clId="{9689C7A7-0C7F-47C6-AB86-2D84D75E0147}" dt="2022-11-01T06:51:07.270" v="3388" actId="478"/>
          <ac:spMkLst>
            <pc:docMk/>
            <pc:sldMk cId="2590419844" sldId="2478"/>
            <ac:spMk id="90" creationId="{02B670F7-7F0D-4044-B54E-60EFA8DE668F}"/>
          </ac:spMkLst>
        </pc:spChg>
        <pc:spChg chg="del">
          <ac:chgData name="Aurelien Domont" userId="6da7715ce44349b3" providerId="LiveId" clId="{9689C7A7-0C7F-47C6-AB86-2D84D75E0147}" dt="2022-11-01T06:51:07.270" v="3388" actId="478"/>
          <ac:spMkLst>
            <pc:docMk/>
            <pc:sldMk cId="2590419844" sldId="2478"/>
            <ac:spMk id="96" creationId="{C6176997-2C40-4461-B178-9AF06DC7F40E}"/>
          </ac:spMkLst>
        </pc:spChg>
        <pc:spChg chg="del">
          <ac:chgData name="Aurelien Domont" userId="6da7715ce44349b3" providerId="LiveId" clId="{9689C7A7-0C7F-47C6-AB86-2D84D75E0147}" dt="2022-11-01T06:51:07.270" v="3388" actId="478"/>
          <ac:spMkLst>
            <pc:docMk/>
            <pc:sldMk cId="2590419844" sldId="2478"/>
            <ac:spMk id="97" creationId="{352340E1-6DBB-4431-AD46-6802F240351C}"/>
          </ac:spMkLst>
        </pc:spChg>
        <pc:spChg chg="del">
          <ac:chgData name="Aurelien Domont" userId="6da7715ce44349b3" providerId="LiveId" clId="{9689C7A7-0C7F-47C6-AB86-2D84D75E0147}" dt="2022-11-01T06:51:07.270" v="3388" actId="478"/>
          <ac:spMkLst>
            <pc:docMk/>
            <pc:sldMk cId="2590419844" sldId="2478"/>
            <ac:spMk id="98" creationId="{F9679BBD-0063-4328-9918-EBF953F9AB7A}"/>
          </ac:spMkLst>
        </pc:spChg>
        <pc:spChg chg="del">
          <ac:chgData name="Aurelien Domont" userId="6da7715ce44349b3" providerId="LiveId" clId="{9689C7A7-0C7F-47C6-AB86-2D84D75E0147}" dt="2022-11-01T06:51:07.270" v="3388" actId="478"/>
          <ac:spMkLst>
            <pc:docMk/>
            <pc:sldMk cId="2590419844" sldId="2478"/>
            <ac:spMk id="99" creationId="{2DB93F9E-B1C9-4A41-8709-419FF2D61EF5}"/>
          </ac:spMkLst>
        </pc:spChg>
        <pc:spChg chg="del">
          <ac:chgData name="Aurelien Domont" userId="6da7715ce44349b3" providerId="LiveId" clId="{9689C7A7-0C7F-47C6-AB86-2D84D75E0147}" dt="2022-11-01T06:51:07.270" v="3388" actId="478"/>
          <ac:spMkLst>
            <pc:docMk/>
            <pc:sldMk cId="2590419844" sldId="2478"/>
            <ac:spMk id="100" creationId="{223CD049-E8E0-4E33-884D-DE91B1F5B885}"/>
          </ac:spMkLst>
        </pc:spChg>
        <pc:spChg chg="del">
          <ac:chgData name="Aurelien Domont" userId="6da7715ce44349b3" providerId="LiveId" clId="{9689C7A7-0C7F-47C6-AB86-2D84D75E0147}" dt="2022-11-01T06:51:07.270" v="3388" actId="478"/>
          <ac:spMkLst>
            <pc:docMk/>
            <pc:sldMk cId="2590419844" sldId="2478"/>
            <ac:spMk id="101" creationId="{F5340496-77D2-489A-9CC9-A683CD7AEB5C}"/>
          </ac:spMkLst>
        </pc:spChg>
        <pc:spChg chg="del">
          <ac:chgData name="Aurelien Domont" userId="6da7715ce44349b3" providerId="LiveId" clId="{9689C7A7-0C7F-47C6-AB86-2D84D75E0147}" dt="2022-11-01T06:51:07.270" v="3388" actId="478"/>
          <ac:spMkLst>
            <pc:docMk/>
            <pc:sldMk cId="2590419844" sldId="2478"/>
            <ac:spMk id="102" creationId="{FEA49C4B-4355-421C-A290-1E1A9F96E757}"/>
          </ac:spMkLst>
        </pc:spChg>
        <pc:spChg chg="del">
          <ac:chgData name="Aurelien Domont" userId="6da7715ce44349b3" providerId="LiveId" clId="{9689C7A7-0C7F-47C6-AB86-2D84D75E0147}" dt="2022-11-01T06:51:07.270" v="3388" actId="478"/>
          <ac:spMkLst>
            <pc:docMk/>
            <pc:sldMk cId="2590419844" sldId="2478"/>
            <ac:spMk id="103" creationId="{5071BEF8-ADB4-47BA-9936-292982348B44}"/>
          </ac:spMkLst>
        </pc:spChg>
        <pc:spChg chg="del">
          <ac:chgData name="Aurelien Domont" userId="6da7715ce44349b3" providerId="LiveId" clId="{9689C7A7-0C7F-47C6-AB86-2D84D75E0147}" dt="2022-11-01T06:51:07.270" v="3388" actId="478"/>
          <ac:spMkLst>
            <pc:docMk/>
            <pc:sldMk cId="2590419844" sldId="2478"/>
            <ac:spMk id="104" creationId="{2ABE6662-C4E5-435A-9FBA-A82576213985}"/>
          </ac:spMkLst>
        </pc:spChg>
        <pc:spChg chg="del">
          <ac:chgData name="Aurelien Domont" userId="6da7715ce44349b3" providerId="LiveId" clId="{9689C7A7-0C7F-47C6-AB86-2D84D75E0147}" dt="2022-11-01T06:51:07.270" v="3388" actId="478"/>
          <ac:spMkLst>
            <pc:docMk/>
            <pc:sldMk cId="2590419844" sldId="2478"/>
            <ac:spMk id="105" creationId="{42787DF1-FF33-4A37-BB01-6DF7C908619A}"/>
          </ac:spMkLst>
        </pc:spChg>
        <pc:spChg chg="del">
          <ac:chgData name="Aurelien Domont" userId="6da7715ce44349b3" providerId="LiveId" clId="{9689C7A7-0C7F-47C6-AB86-2D84D75E0147}" dt="2022-11-01T06:51:07.270" v="3388" actId="478"/>
          <ac:spMkLst>
            <pc:docMk/>
            <pc:sldMk cId="2590419844" sldId="2478"/>
            <ac:spMk id="106" creationId="{E4572C8A-77D0-479D-B571-A8FCA205A5DE}"/>
          </ac:spMkLst>
        </pc:spChg>
        <pc:spChg chg="del">
          <ac:chgData name="Aurelien Domont" userId="6da7715ce44349b3" providerId="LiveId" clId="{9689C7A7-0C7F-47C6-AB86-2D84D75E0147}" dt="2022-11-01T06:51:07.270" v="3388" actId="478"/>
          <ac:spMkLst>
            <pc:docMk/>
            <pc:sldMk cId="2590419844" sldId="2478"/>
            <ac:spMk id="107" creationId="{3A1AC3E7-76BA-4201-BBA6-AFD3EC34233A}"/>
          </ac:spMkLst>
        </pc:spChg>
        <pc:spChg chg="del">
          <ac:chgData name="Aurelien Domont" userId="6da7715ce44349b3" providerId="LiveId" clId="{9689C7A7-0C7F-47C6-AB86-2D84D75E0147}" dt="2022-11-01T06:51:07.270" v="3388" actId="478"/>
          <ac:spMkLst>
            <pc:docMk/>
            <pc:sldMk cId="2590419844" sldId="2478"/>
            <ac:spMk id="111" creationId="{8D24E98D-6ECF-4046-8BAF-FAA13A8FF0AD}"/>
          </ac:spMkLst>
        </pc:spChg>
        <pc:spChg chg="del">
          <ac:chgData name="Aurelien Domont" userId="6da7715ce44349b3" providerId="LiveId" clId="{9689C7A7-0C7F-47C6-AB86-2D84D75E0147}" dt="2022-11-01T06:51:07.270" v="3388" actId="478"/>
          <ac:spMkLst>
            <pc:docMk/>
            <pc:sldMk cId="2590419844" sldId="2478"/>
            <ac:spMk id="112" creationId="{98F05424-B13F-4BDB-835C-583ED534D4D4}"/>
          </ac:spMkLst>
        </pc:spChg>
        <pc:spChg chg="del">
          <ac:chgData name="Aurelien Domont" userId="6da7715ce44349b3" providerId="LiveId" clId="{9689C7A7-0C7F-47C6-AB86-2D84D75E0147}" dt="2022-11-01T06:51:07.270" v="3388" actId="478"/>
          <ac:spMkLst>
            <pc:docMk/>
            <pc:sldMk cId="2590419844" sldId="2478"/>
            <ac:spMk id="113" creationId="{5026139C-13A7-44CE-B088-B8A20F0DB682}"/>
          </ac:spMkLst>
        </pc:spChg>
        <pc:spChg chg="del">
          <ac:chgData name="Aurelien Domont" userId="6da7715ce44349b3" providerId="LiveId" clId="{9689C7A7-0C7F-47C6-AB86-2D84D75E0147}" dt="2022-11-01T06:51:07.270" v="3388" actId="478"/>
          <ac:spMkLst>
            <pc:docMk/>
            <pc:sldMk cId="2590419844" sldId="2478"/>
            <ac:spMk id="114" creationId="{B3D9AAC7-8BE5-4992-B78F-5D017C1F9202}"/>
          </ac:spMkLst>
        </pc:spChg>
        <pc:spChg chg="del">
          <ac:chgData name="Aurelien Domont" userId="6da7715ce44349b3" providerId="LiveId" clId="{9689C7A7-0C7F-47C6-AB86-2D84D75E0147}" dt="2022-11-01T06:51:07.270" v="3388" actId="478"/>
          <ac:spMkLst>
            <pc:docMk/>
            <pc:sldMk cId="2590419844" sldId="2478"/>
            <ac:spMk id="115" creationId="{4204758A-081B-4AE9-9257-5D7CBC03365E}"/>
          </ac:spMkLst>
        </pc:spChg>
        <pc:spChg chg="del">
          <ac:chgData name="Aurelien Domont" userId="6da7715ce44349b3" providerId="LiveId" clId="{9689C7A7-0C7F-47C6-AB86-2D84D75E0147}" dt="2022-11-01T06:51:07.270" v="3388" actId="478"/>
          <ac:spMkLst>
            <pc:docMk/>
            <pc:sldMk cId="2590419844" sldId="2478"/>
            <ac:spMk id="116" creationId="{AA2F3C75-5182-463C-BA75-F2C7B7BEB22F}"/>
          </ac:spMkLst>
        </pc:spChg>
        <pc:spChg chg="del">
          <ac:chgData name="Aurelien Domont" userId="6da7715ce44349b3" providerId="LiveId" clId="{9689C7A7-0C7F-47C6-AB86-2D84D75E0147}" dt="2022-11-01T06:51:07.270" v="3388" actId="478"/>
          <ac:spMkLst>
            <pc:docMk/>
            <pc:sldMk cId="2590419844" sldId="2478"/>
            <ac:spMk id="117" creationId="{FF1EE458-03D0-4B0E-9758-8DB61B60B3B7}"/>
          </ac:spMkLst>
        </pc:spChg>
        <pc:spChg chg="del">
          <ac:chgData name="Aurelien Domont" userId="6da7715ce44349b3" providerId="LiveId" clId="{9689C7A7-0C7F-47C6-AB86-2D84D75E0147}" dt="2022-11-01T06:51:07.270" v="3388" actId="478"/>
          <ac:spMkLst>
            <pc:docMk/>
            <pc:sldMk cId="2590419844" sldId="2478"/>
            <ac:spMk id="118" creationId="{528607E0-9375-4ED8-B65A-3F9BE7B1B233}"/>
          </ac:spMkLst>
        </pc:spChg>
        <pc:spChg chg="del">
          <ac:chgData name="Aurelien Domont" userId="6da7715ce44349b3" providerId="LiveId" clId="{9689C7A7-0C7F-47C6-AB86-2D84D75E0147}" dt="2022-11-01T06:51:07.270" v="3388" actId="478"/>
          <ac:spMkLst>
            <pc:docMk/>
            <pc:sldMk cId="2590419844" sldId="2478"/>
            <ac:spMk id="119" creationId="{E83E37CE-34FB-4D9F-8A52-D60686053F2A}"/>
          </ac:spMkLst>
        </pc:spChg>
        <pc:spChg chg="del">
          <ac:chgData name="Aurelien Domont" userId="6da7715ce44349b3" providerId="LiveId" clId="{9689C7A7-0C7F-47C6-AB86-2D84D75E0147}" dt="2022-11-01T06:51:07.270" v="3388" actId="478"/>
          <ac:spMkLst>
            <pc:docMk/>
            <pc:sldMk cId="2590419844" sldId="2478"/>
            <ac:spMk id="120" creationId="{1AC3F6D1-53AA-4932-8CE5-4062DC55CC05}"/>
          </ac:spMkLst>
        </pc:spChg>
        <pc:spChg chg="del">
          <ac:chgData name="Aurelien Domont" userId="6da7715ce44349b3" providerId="LiveId" clId="{9689C7A7-0C7F-47C6-AB86-2D84D75E0147}" dt="2022-11-01T06:51:07.270" v="3388" actId="478"/>
          <ac:spMkLst>
            <pc:docMk/>
            <pc:sldMk cId="2590419844" sldId="2478"/>
            <ac:spMk id="121" creationId="{418421F0-20E9-4344-B118-A0E261E35CB0}"/>
          </ac:spMkLst>
        </pc:spChg>
        <pc:spChg chg="del">
          <ac:chgData name="Aurelien Domont" userId="6da7715ce44349b3" providerId="LiveId" clId="{9689C7A7-0C7F-47C6-AB86-2D84D75E0147}" dt="2022-11-01T06:51:07.270" v="3388" actId="478"/>
          <ac:spMkLst>
            <pc:docMk/>
            <pc:sldMk cId="2590419844" sldId="2478"/>
            <ac:spMk id="122" creationId="{549B8614-70B8-42E1-8719-39E21E31475E}"/>
          </ac:spMkLst>
        </pc:spChg>
        <pc:spChg chg="del">
          <ac:chgData name="Aurelien Domont" userId="6da7715ce44349b3" providerId="LiveId" clId="{9689C7A7-0C7F-47C6-AB86-2D84D75E0147}" dt="2022-11-01T06:51:07.270" v="3388" actId="478"/>
          <ac:spMkLst>
            <pc:docMk/>
            <pc:sldMk cId="2590419844" sldId="2478"/>
            <ac:spMk id="126" creationId="{62880837-2C43-40E8-9AF6-B862401777E2}"/>
          </ac:spMkLst>
        </pc:spChg>
        <pc:spChg chg="del">
          <ac:chgData name="Aurelien Domont" userId="6da7715ce44349b3" providerId="LiveId" clId="{9689C7A7-0C7F-47C6-AB86-2D84D75E0147}" dt="2022-11-01T06:51:07.270" v="3388" actId="478"/>
          <ac:spMkLst>
            <pc:docMk/>
            <pc:sldMk cId="2590419844" sldId="2478"/>
            <ac:spMk id="127" creationId="{9D8C6FBA-53B5-4F81-A74B-1E8F9A7484FB}"/>
          </ac:spMkLst>
        </pc:spChg>
        <pc:spChg chg="del">
          <ac:chgData name="Aurelien Domont" userId="6da7715ce44349b3" providerId="LiveId" clId="{9689C7A7-0C7F-47C6-AB86-2D84D75E0147}" dt="2022-11-01T06:51:07.270" v="3388" actId="478"/>
          <ac:spMkLst>
            <pc:docMk/>
            <pc:sldMk cId="2590419844" sldId="2478"/>
            <ac:spMk id="128" creationId="{71CE224F-9636-4E50-9853-22A0052BD165}"/>
          </ac:spMkLst>
        </pc:spChg>
        <pc:spChg chg="del">
          <ac:chgData name="Aurelien Domont" userId="6da7715ce44349b3" providerId="LiveId" clId="{9689C7A7-0C7F-47C6-AB86-2D84D75E0147}" dt="2022-11-01T06:51:07.270" v="3388" actId="478"/>
          <ac:spMkLst>
            <pc:docMk/>
            <pc:sldMk cId="2590419844" sldId="2478"/>
            <ac:spMk id="129" creationId="{706028E1-F1CE-49C0-B366-83E32F82CDC9}"/>
          </ac:spMkLst>
        </pc:spChg>
        <pc:picChg chg="add mod">
          <ac:chgData name="Aurelien Domont" userId="6da7715ce44349b3" providerId="LiveId" clId="{9689C7A7-0C7F-47C6-AB86-2D84D75E0147}" dt="2022-11-01T06:51:48.263" v="3391" actId="1076"/>
          <ac:picMkLst>
            <pc:docMk/>
            <pc:sldMk cId="2590419844" sldId="2478"/>
            <ac:picMk id="14" creationId="{86831C12-432B-0195-76DC-49345B8F0F96}"/>
          </ac:picMkLst>
        </pc:picChg>
        <pc:picChg chg="add mod">
          <ac:chgData name="Aurelien Domont" userId="6da7715ce44349b3" providerId="LiveId" clId="{9689C7A7-0C7F-47C6-AB86-2D84D75E0147}" dt="2022-11-01T06:51:48.263" v="3391" actId="1076"/>
          <ac:picMkLst>
            <pc:docMk/>
            <pc:sldMk cId="2590419844" sldId="2478"/>
            <ac:picMk id="15" creationId="{591293F7-FAE6-D06C-E9AD-181F8BB8AA9F}"/>
          </ac:picMkLst>
        </pc:picChg>
        <pc:cxnChg chg="del">
          <ac:chgData name="Aurelien Domont" userId="6da7715ce44349b3" providerId="LiveId" clId="{9689C7A7-0C7F-47C6-AB86-2D84D75E0147}" dt="2022-11-01T06:51:07.270" v="3388" actId="478"/>
          <ac:cxnSpMkLst>
            <pc:docMk/>
            <pc:sldMk cId="2590419844" sldId="2478"/>
            <ac:cxnSpMk id="91" creationId="{C6B2FD17-5152-440D-9263-CDF1F0DF1963}"/>
          </ac:cxnSpMkLst>
        </pc:cxnChg>
        <pc:cxnChg chg="del">
          <ac:chgData name="Aurelien Domont" userId="6da7715ce44349b3" providerId="LiveId" clId="{9689C7A7-0C7F-47C6-AB86-2D84D75E0147}" dt="2022-11-01T06:51:07.270" v="3388" actId="478"/>
          <ac:cxnSpMkLst>
            <pc:docMk/>
            <pc:sldMk cId="2590419844" sldId="2478"/>
            <ac:cxnSpMk id="92" creationId="{D8834B92-3834-41F6-AE53-ADBD2438017C}"/>
          </ac:cxnSpMkLst>
        </pc:cxnChg>
        <pc:cxnChg chg="del">
          <ac:chgData name="Aurelien Domont" userId="6da7715ce44349b3" providerId="LiveId" clId="{9689C7A7-0C7F-47C6-AB86-2D84D75E0147}" dt="2022-11-01T06:51:07.270" v="3388" actId="478"/>
          <ac:cxnSpMkLst>
            <pc:docMk/>
            <pc:sldMk cId="2590419844" sldId="2478"/>
            <ac:cxnSpMk id="93" creationId="{D64383E5-7894-4068-B541-9FBE2E3C1901}"/>
          </ac:cxnSpMkLst>
        </pc:cxnChg>
        <pc:cxnChg chg="del">
          <ac:chgData name="Aurelien Domont" userId="6da7715ce44349b3" providerId="LiveId" clId="{9689C7A7-0C7F-47C6-AB86-2D84D75E0147}" dt="2022-11-01T06:51:07.270" v="3388" actId="478"/>
          <ac:cxnSpMkLst>
            <pc:docMk/>
            <pc:sldMk cId="2590419844" sldId="2478"/>
            <ac:cxnSpMk id="94" creationId="{303D6ABA-D966-49AC-86D8-C36DDE18981F}"/>
          </ac:cxnSpMkLst>
        </pc:cxnChg>
      </pc:sldChg>
      <pc:sldChg chg="modSp add mod">
        <pc:chgData name="Aurelien Domont" userId="6da7715ce44349b3" providerId="LiveId" clId="{9689C7A7-0C7F-47C6-AB86-2D84D75E0147}" dt="2022-11-01T23:50:05.457" v="3511" actId="1036"/>
        <pc:sldMkLst>
          <pc:docMk/>
          <pc:sldMk cId="654954127" sldId="2479"/>
        </pc:sldMkLst>
        <pc:spChg chg="mod">
          <ac:chgData name="Aurelien Domont" userId="6da7715ce44349b3" providerId="LiveId" clId="{9689C7A7-0C7F-47C6-AB86-2D84D75E0147}" dt="2022-11-01T23:50:05.457" v="3511" actId="1036"/>
          <ac:spMkLst>
            <pc:docMk/>
            <pc:sldMk cId="654954127" sldId="2479"/>
            <ac:spMk id="2" creationId="{547CB403-88D0-99AE-C93F-28EEFD77F877}"/>
          </ac:spMkLst>
        </pc:spChg>
      </pc:sldChg>
      <pc:sldChg chg="addSp delSp modSp add del mod">
        <pc:chgData name="Aurelien Domont" userId="6da7715ce44349b3" providerId="LiveId" clId="{9689C7A7-0C7F-47C6-AB86-2D84D75E0147}" dt="2022-11-01T23:48:59.479" v="3486" actId="47"/>
        <pc:sldMkLst>
          <pc:docMk/>
          <pc:sldMk cId="4265939711" sldId="2479"/>
        </pc:sldMkLst>
        <pc:spChg chg="mod">
          <ac:chgData name="Aurelien Domont" userId="6da7715ce44349b3" providerId="LiveId" clId="{9689C7A7-0C7F-47C6-AB86-2D84D75E0147}" dt="2022-11-01T23:45:47.721" v="3483" actId="313"/>
          <ac:spMkLst>
            <pc:docMk/>
            <pc:sldMk cId="4265939711" sldId="2479"/>
            <ac:spMk id="3" creationId="{DFBF9F0F-8CD3-A702-0439-3927B69DA04D}"/>
          </ac:spMkLst>
        </pc:spChg>
        <pc:spChg chg="add mod">
          <ac:chgData name="Aurelien Domont" userId="6da7715ce44349b3" providerId="LiveId" clId="{9689C7A7-0C7F-47C6-AB86-2D84D75E0147}" dt="2022-11-01T23:47:06.437" v="3484"/>
          <ac:spMkLst>
            <pc:docMk/>
            <pc:sldMk cId="4265939711" sldId="2479"/>
            <ac:spMk id="4" creationId="{B1986EA1-FB13-F5B3-F5D2-68138F4E3EB1}"/>
          </ac:spMkLst>
        </pc:spChg>
        <pc:spChg chg="add mod">
          <ac:chgData name="Aurelien Domont" userId="6da7715ce44349b3" providerId="LiveId" clId="{9689C7A7-0C7F-47C6-AB86-2D84D75E0147}" dt="2022-11-01T23:47:06.437" v="3484"/>
          <ac:spMkLst>
            <pc:docMk/>
            <pc:sldMk cId="4265939711" sldId="2479"/>
            <ac:spMk id="5" creationId="{807AFE35-6CCD-585D-79F9-ECBFDE8B6781}"/>
          </ac:spMkLst>
        </pc:spChg>
        <pc:spChg chg="del">
          <ac:chgData name="Aurelien Domont" userId="6da7715ce44349b3" providerId="LiveId" clId="{9689C7A7-0C7F-47C6-AB86-2D84D75E0147}" dt="2022-11-01T23:45:37.983" v="3460" actId="478"/>
          <ac:spMkLst>
            <pc:docMk/>
            <pc:sldMk cId="4265939711" sldId="2479"/>
            <ac:spMk id="6" creationId="{468EAADD-4AAB-455C-A48F-C536362E3405}"/>
          </ac:spMkLst>
        </pc:spChg>
        <pc:spChg chg="add mod">
          <ac:chgData name="Aurelien Domont" userId="6da7715ce44349b3" providerId="LiveId" clId="{9689C7A7-0C7F-47C6-AB86-2D84D75E0147}" dt="2022-11-01T23:47:06.437" v="3484"/>
          <ac:spMkLst>
            <pc:docMk/>
            <pc:sldMk cId="4265939711" sldId="2479"/>
            <ac:spMk id="7" creationId="{9EB2D30C-480E-D4D5-660A-4BFE2720A672}"/>
          </ac:spMkLst>
        </pc:spChg>
        <pc:spChg chg="add mod">
          <ac:chgData name="Aurelien Domont" userId="6da7715ce44349b3" providerId="LiveId" clId="{9689C7A7-0C7F-47C6-AB86-2D84D75E0147}" dt="2022-11-01T23:47:06.437" v="3484"/>
          <ac:spMkLst>
            <pc:docMk/>
            <pc:sldMk cId="4265939711" sldId="2479"/>
            <ac:spMk id="8" creationId="{3CDD8609-1110-D233-BD6C-F3DEC2EE6C75}"/>
          </ac:spMkLst>
        </pc:spChg>
        <pc:spChg chg="add mod">
          <ac:chgData name="Aurelien Domont" userId="6da7715ce44349b3" providerId="LiveId" clId="{9689C7A7-0C7F-47C6-AB86-2D84D75E0147}" dt="2022-11-01T23:47:06.437" v="3484"/>
          <ac:spMkLst>
            <pc:docMk/>
            <pc:sldMk cId="4265939711" sldId="2479"/>
            <ac:spMk id="9" creationId="{CA0FF3A7-15F8-3757-661B-F14E100FE625}"/>
          </ac:spMkLst>
        </pc:spChg>
        <pc:spChg chg="add mod">
          <ac:chgData name="Aurelien Domont" userId="6da7715ce44349b3" providerId="LiveId" clId="{9689C7A7-0C7F-47C6-AB86-2D84D75E0147}" dt="2022-11-01T23:47:06.437" v="3484"/>
          <ac:spMkLst>
            <pc:docMk/>
            <pc:sldMk cId="4265939711" sldId="2479"/>
            <ac:spMk id="10" creationId="{4C944889-6C71-3C30-4757-64C08B17BC3E}"/>
          </ac:spMkLst>
        </pc:spChg>
        <pc:spChg chg="add mod">
          <ac:chgData name="Aurelien Domont" userId="6da7715ce44349b3" providerId="LiveId" clId="{9689C7A7-0C7F-47C6-AB86-2D84D75E0147}" dt="2022-11-01T23:47:06.437" v="3484"/>
          <ac:spMkLst>
            <pc:docMk/>
            <pc:sldMk cId="4265939711" sldId="2479"/>
            <ac:spMk id="11" creationId="{078FE6CC-C4CB-AE0E-10F5-FF1F552ECF7F}"/>
          </ac:spMkLst>
        </pc:spChg>
        <pc:spChg chg="add mod">
          <ac:chgData name="Aurelien Domont" userId="6da7715ce44349b3" providerId="LiveId" clId="{9689C7A7-0C7F-47C6-AB86-2D84D75E0147}" dt="2022-11-01T23:47:06.437" v="3484"/>
          <ac:spMkLst>
            <pc:docMk/>
            <pc:sldMk cId="4265939711" sldId="2479"/>
            <ac:spMk id="14" creationId="{268C6742-2FDC-A1FA-A240-1FF74DC5485A}"/>
          </ac:spMkLst>
        </pc:spChg>
        <pc:spChg chg="add mod">
          <ac:chgData name="Aurelien Domont" userId="6da7715ce44349b3" providerId="LiveId" clId="{9689C7A7-0C7F-47C6-AB86-2D84D75E0147}" dt="2022-11-01T23:47:06.437" v="3484"/>
          <ac:spMkLst>
            <pc:docMk/>
            <pc:sldMk cId="4265939711" sldId="2479"/>
            <ac:spMk id="15" creationId="{26A3334D-8E7A-53D5-62B3-37A87BBB076D}"/>
          </ac:spMkLst>
        </pc:spChg>
        <pc:spChg chg="add mod">
          <ac:chgData name="Aurelien Domont" userId="6da7715ce44349b3" providerId="LiveId" clId="{9689C7A7-0C7F-47C6-AB86-2D84D75E0147}" dt="2022-11-01T23:47:06.437" v="3484"/>
          <ac:spMkLst>
            <pc:docMk/>
            <pc:sldMk cId="4265939711" sldId="2479"/>
            <ac:spMk id="17" creationId="{D8329F97-5C56-10DA-FCC5-7EEE460D9072}"/>
          </ac:spMkLst>
        </pc:spChg>
        <pc:spChg chg="add mod">
          <ac:chgData name="Aurelien Domont" userId="6da7715ce44349b3" providerId="LiveId" clId="{9689C7A7-0C7F-47C6-AB86-2D84D75E0147}" dt="2022-11-01T23:47:06.437" v="3484"/>
          <ac:spMkLst>
            <pc:docMk/>
            <pc:sldMk cId="4265939711" sldId="2479"/>
            <ac:spMk id="18" creationId="{BB6B0E8C-6D69-9BBA-F7D5-27484B38F28A}"/>
          </ac:spMkLst>
        </pc:spChg>
        <pc:spChg chg="add mod">
          <ac:chgData name="Aurelien Domont" userId="6da7715ce44349b3" providerId="LiveId" clId="{9689C7A7-0C7F-47C6-AB86-2D84D75E0147}" dt="2022-11-01T23:47:06.437" v="3484"/>
          <ac:spMkLst>
            <pc:docMk/>
            <pc:sldMk cId="4265939711" sldId="2479"/>
            <ac:spMk id="19" creationId="{D235F6B7-0E6C-69D9-2716-D0D622796384}"/>
          </ac:spMkLst>
        </pc:spChg>
        <pc:spChg chg="add mod">
          <ac:chgData name="Aurelien Domont" userId="6da7715ce44349b3" providerId="LiveId" clId="{9689C7A7-0C7F-47C6-AB86-2D84D75E0147}" dt="2022-11-01T23:47:06.437" v="3484"/>
          <ac:spMkLst>
            <pc:docMk/>
            <pc:sldMk cId="4265939711" sldId="2479"/>
            <ac:spMk id="20" creationId="{01B984C8-769E-E04D-06AF-DF0BBD50A2C2}"/>
          </ac:spMkLst>
        </pc:spChg>
        <pc:spChg chg="add mod">
          <ac:chgData name="Aurelien Domont" userId="6da7715ce44349b3" providerId="LiveId" clId="{9689C7A7-0C7F-47C6-AB86-2D84D75E0147}" dt="2022-11-01T23:47:06.437" v="3484"/>
          <ac:spMkLst>
            <pc:docMk/>
            <pc:sldMk cId="4265939711" sldId="2479"/>
            <ac:spMk id="21" creationId="{32D6E776-E34C-5361-AD30-8136BAD0AA95}"/>
          </ac:spMkLst>
        </pc:spChg>
        <pc:spChg chg="add mod">
          <ac:chgData name="Aurelien Domont" userId="6da7715ce44349b3" providerId="LiveId" clId="{9689C7A7-0C7F-47C6-AB86-2D84D75E0147}" dt="2022-11-01T23:47:06.437" v="3484"/>
          <ac:spMkLst>
            <pc:docMk/>
            <pc:sldMk cId="4265939711" sldId="2479"/>
            <ac:spMk id="22" creationId="{C9EC35A1-7FAE-DBD2-6C75-9EB4A240FA75}"/>
          </ac:spMkLst>
        </pc:spChg>
        <pc:spChg chg="add mod">
          <ac:chgData name="Aurelien Domont" userId="6da7715ce44349b3" providerId="LiveId" clId="{9689C7A7-0C7F-47C6-AB86-2D84D75E0147}" dt="2022-11-01T23:47:06.437" v="3484"/>
          <ac:spMkLst>
            <pc:docMk/>
            <pc:sldMk cId="4265939711" sldId="2479"/>
            <ac:spMk id="23" creationId="{9839F621-D452-4B85-FB41-C8D8A9734271}"/>
          </ac:spMkLst>
        </pc:spChg>
        <pc:spChg chg="mod">
          <ac:chgData name="Aurelien Domont" userId="6da7715ce44349b3" providerId="LiveId" clId="{9689C7A7-0C7F-47C6-AB86-2D84D75E0147}" dt="2022-11-01T23:47:06.437" v="3484"/>
          <ac:spMkLst>
            <pc:docMk/>
            <pc:sldMk cId="4265939711" sldId="2479"/>
            <ac:spMk id="25" creationId="{0C1C6086-9E74-083D-53FB-7FC5BDFCF502}"/>
          </ac:spMkLst>
        </pc:spChg>
        <pc:spChg chg="mod">
          <ac:chgData name="Aurelien Domont" userId="6da7715ce44349b3" providerId="LiveId" clId="{9689C7A7-0C7F-47C6-AB86-2D84D75E0147}" dt="2022-11-01T23:47:06.437" v="3484"/>
          <ac:spMkLst>
            <pc:docMk/>
            <pc:sldMk cId="4265939711" sldId="2479"/>
            <ac:spMk id="26" creationId="{6E69CE30-6221-E2BD-E54D-699754AA83FE}"/>
          </ac:spMkLst>
        </pc:spChg>
        <pc:spChg chg="mod">
          <ac:chgData name="Aurelien Domont" userId="6da7715ce44349b3" providerId="LiveId" clId="{9689C7A7-0C7F-47C6-AB86-2D84D75E0147}" dt="2022-11-01T23:47:06.437" v="3484"/>
          <ac:spMkLst>
            <pc:docMk/>
            <pc:sldMk cId="4265939711" sldId="2479"/>
            <ac:spMk id="27" creationId="{135E8242-9C66-F0C9-7CF6-F0399DA586CC}"/>
          </ac:spMkLst>
        </pc:spChg>
        <pc:spChg chg="mod">
          <ac:chgData name="Aurelien Domont" userId="6da7715ce44349b3" providerId="LiveId" clId="{9689C7A7-0C7F-47C6-AB86-2D84D75E0147}" dt="2022-11-01T23:47:06.437" v="3484"/>
          <ac:spMkLst>
            <pc:docMk/>
            <pc:sldMk cId="4265939711" sldId="2479"/>
            <ac:spMk id="28" creationId="{82EC85E2-CD7C-5044-5130-B7C207F59214}"/>
          </ac:spMkLst>
        </pc:spChg>
        <pc:spChg chg="mod">
          <ac:chgData name="Aurelien Domont" userId="6da7715ce44349b3" providerId="LiveId" clId="{9689C7A7-0C7F-47C6-AB86-2D84D75E0147}" dt="2022-11-01T23:47:06.437" v="3484"/>
          <ac:spMkLst>
            <pc:docMk/>
            <pc:sldMk cId="4265939711" sldId="2479"/>
            <ac:spMk id="29" creationId="{9B43B4E7-032A-BBA8-D4B1-C4B733651BAB}"/>
          </ac:spMkLst>
        </pc:spChg>
        <pc:spChg chg="mod">
          <ac:chgData name="Aurelien Domont" userId="6da7715ce44349b3" providerId="LiveId" clId="{9689C7A7-0C7F-47C6-AB86-2D84D75E0147}" dt="2022-11-01T23:47:06.437" v="3484"/>
          <ac:spMkLst>
            <pc:docMk/>
            <pc:sldMk cId="4265939711" sldId="2479"/>
            <ac:spMk id="30" creationId="{265227DB-DD88-E4CE-F5D7-6EA3138635B1}"/>
          </ac:spMkLst>
        </pc:spChg>
        <pc:spChg chg="mod">
          <ac:chgData name="Aurelien Domont" userId="6da7715ce44349b3" providerId="LiveId" clId="{9689C7A7-0C7F-47C6-AB86-2D84D75E0147}" dt="2022-11-01T23:47:06.437" v="3484"/>
          <ac:spMkLst>
            <pc:docMk/>
            <pc:sldMk cId="4265939711" sldId="2479"/>
            <ac:spMk id="31" creationId="{97FB764E-7003-ABB5-A2FD-BA50EE38DE58}"/>
          </ac:spMkLst>
        </pc:spChg>
        <pc:spChg chg="mod">
          <ac:chgData name="Aurelien Domont" userId="6da7715ce44349b3" providerId="LiveId" clId="{9689C7A7-0C7F-47C6-AB86-2D84D75E0147}" dt="2022-11-01T23:47:06.437" v="3484"/>
          <ac:spMkLst>
            <pc:docMk/>
            <pc:sldMk cId="4265939711" sldId="2479"/>
            <ac:spMk id="32" creationId="{92632356-8DCC-C316-EE12-C639AB0C2AC0}"/>
          </ac:spMkLst>
        </pc:spChg>
        <pc:spChg chg="mod">
          <ac:chgData name="Aurelien Domont" userId="6da7715ce44349b3" providerId="LiveId" clId="{9689C7A7-0C7F-47C6-AB86-2D84D75E0147}" dt="2022-11-01T23:47:06.437" v="3484"/>
          <ac:spMkLst>
            <pc:docMk/>
            <pc:sldMk cId="4265939711" sldId="2479"/>
            <ac:spMk id="33" creationId="{3F678C04-2B86-80F8-B4C7-D1DC74B17BF9}"/>
          </ac:spMkLst>
        </pc:spChg>
        <pc:spChg chg="mod">
          <ac:chgData name="Aurelien Domont" userId="6da7715ce44349b3" providerId="LiveId" clId="{9689C7A7-0C7F-47C6-AB86-2D84D75E0147}" dt="2022-11-01T23:47:06.437" v="3484"/>
          <ac:spMkLst>
            <pc:docMk/>
            <pc:sldMk cId="4265939711" sldId="2479"/>
            <ac:spMk id="34" creationId="{8ADA2FA9-BF18-5777-A797-67ACF0A544D7}"/>
          </ac:spMkLst>
        </pc:spChg>
        <pc:spChg chg="mod">
          <ac:chgData name="Aurelien Domont" userId="6da7715ce44349b3" providerId="LiveId" clId="{9689C7A7-0C7F-47C6-AB86-2D84D75E0147}" dt="2022-11-01T23:47:06.437" v="3484"/>
          <ac:spMkLst>
            <pc:docMk/>
            <pc:sldMk cId="4265939711" sldId="2479"/>
            <ac:spMk id="35" creationId="{F7DCCE79-CEE0-5518-BDA2-0BBD87CFD18D}"/>
          </ac:spMkLst>
        </pc:spChg>
        <pc:spChg chg="mod">
          <ac:chgData name="Aurelien Domont" userId="6da7715ce44349b3" providerId="LiveId" clId="{9689C7A7-0C7F-47C6-AB86-2D84D75E0147}" dt="2022-11-01T23:47:06.437" v="3484"/>
          <ac:spMkLst>
            <pc:docMk/>
            <pc:sldMk cId="4265939711" sldId="2479"/>
            <ac:spMk id="36" creationId="{B7B24ACA-FBA2-8712-7B70-3768ED84F617}"/>
          </ac:spMkLst>
        </pc:spChg>
        <pc:spChg chg="mod">
          <ac:chgData name="Aurelien Domont" userId="6da7715ce44349b3" providerId="LiveId" clId="{9689C7A7-0C7F-47C6-AB86-2D84D75E0147}" dt="2022-11-01T23:47:06.437" v="3484"/>
          <ac:spMkLst>
            <pc:docMk/>
            <pc:sldMk cId="4265939711" sldId="2479"/>
            <ac:spMk id="48" creationId="{3454357D-F293-6C7C-86BC-C78E0A38E2A1}"/>
          </ac:spMkLst>
        </pc:spChg>
        <pc:spChg chg="mod">
          <ac:chgData name="Aurelien Domont" userId="6da7715ce44349b3" providerId="LiveId" clId="{9689C7A7-0C7F-47C6-AB86-2D84D75E0147}" dt="2022-11-01T23:47:06.437" v="3484"/>
          <ac:spMkLst>
            <pc:docMk/>
            <pc:sldMk cId="4265939711" sldId="2479"/>
            <ac:spMk id="49" creationId="{F8A015E5-C3BE-98F3-E35B-E9241733A3A1}"/>
          </ac:spMkLst>
        </pc:spChg>
        <pc:spChg chg="mod">
          <ac:chgData name="Aurelien Domont" userId="6da7715ce44349b3" providerId="LiveId" clId="{9689C7A7-0C7F-47C6-AB86-2D84D75E0147}" dt="2022-11-01T23:47:06.437" v="3484"/>
          <ac:spMkLst>
            <pc:docMk/>
            <pc:sldMk cId="4265939711" sldId="2479"/>
            <ac:spMk id="50" creationId="{CFC2FBDA-3B5B-5DF6-00EF-5F87AA29C7FF}"/>
          </ac:spMkLst>
        </pc:spChg>
        <pc:spChg chg="mod">
          <ac:chgData name="Aurelien Domont" userId="6da7715ce44349b3" providerId="LiveId" clId="{9689C7A7-0C7F-47C6-AB86-2D84D75E0147}" dt="2022-11-01T23:47:06.437" v="3484"/>
          <ac:spMkLst>
            <pc:docMk/>
            <pc:sldMk cId="4265939711" sldId="2479"/>
            <ac:spMk id="51" creationId="{CED896FD-4A14-56BF-928C-01EB2D72C866}"/>
          </ac:spMkLst>
        </pc:spChg>
        <pc:spChg chg="mod">
          <ac:chgData name="Aurelien Domont" userId="6da7715ce44349b3" providerId="LiveId" clId="{9689C7A7-0C7F-47C6-AB86-2D84D75E0147}" dt="2022-11-01T23:47:06.437" v="3484"/>
          <ac:spMkLst>
            <pc:docMk/>
            <pc:sldMk cId="4265939711" sldId="2479"/>
            <ac:spMk id="52" creationId="{4A96CA56-A81B-FA7F-458B-81D2C4BA012F}"/>
          </ac:spMkLst>
        </pc:spChg>
        <pc:spChg chg="mod">
          <ac:chgData name="Aurelien Domont" userId="6da7715ce44349b3" providerId="LiveId" clId="{9689C7A7-0C7F-47C6-AB86-2D84D75E0147}" dt="2022-11-01T23:47:06.437" v="3484"/>
          <ac:spMkLst>
            <pc:docMk/>
            <pc:sldMk cId="4265939711" sldId="2479"/>
            <ac:spMk id="53" creationId="{A35393FB-C2B4-FE5C-7E2C-2E2E63E86CCC}"/>
          </ac:spMkLst>
        </pc:spChg>
        <pc:spChg chg="mod">
          <ac:chgData name="Aurelien Domont" userId="6da7715ce44349b3" providerId="LiveId" clId="{9689C7A7-0C7F-47C6-AB86-2D84D75E0147}" dt="2022-11-01T23:47:06.437" v="3484"/>
          <ac:spMkLst>
            <pc:docMk/>
            <pc:sldMk cId="4265939711" sldId="2479"/>
            <ac:spMk id="54" creationId="{7E45A884-44EF-8D11-75DC-3CA3649EBE16}"/>
          </ac:spMkLst>
        </pc:spChg>
        <pc:spChg chg="mod">
          <ac:chgData name="Aurelien Domont" userId="6da7715ce44349b3" providerId="LiveId" clId="{9689C7A7-0C7F-47C6-AB86-2D84D75E0147}" dt="2022-11-01T23:47:06.437" v="3484"/>
          <ac:spMkLst>
            <pc:docMk/>
            <pc:sldMk cId="4265939711" sldId="2479"/>
            <ac:spMk id="55" creationId="{5499D1F4-2C98-1811-3EEC-8A115AC77633}"/>
          </ac:spMkLst>
        </pc:spChg>
        <pc:spChg chg="mod">
          <ac:chgData name="Aurelien Domont" userId="6da7715ce44349b3" providerId="LiveId" clId="{9689C7A7-0C7F-47C6-AB86-2D84D75E0147}" dt="2022-11-01T23:47:06.437" v="3484"/>
          <ac:spMkLst>
            <pc:docMk/>
            <pc:sldMk cId="4265939711" sldId="2479"/>
            <ac:spMk id="56" creationId="{28F575F0-5C8A-98FA-A13F-D1D7E66A4B56}"/>
          </ac:spMkLst>
        </pc:spChg>
        <pc:spChg chg="mod">
          <ac:chgData name="Aurelien Domont" userId="6da7715ce44349b3" providerId="LiveId" clId="{9689C7A7-0C7F-47C6-AB86-2D84D75E0147}" dt="2022-11-01T23:47:06.437" v="3484"/>
          <ac:spMkLst>
            <pc:docMk/>
            <pc:sldMk cId="4265939711" sldId="2479"/>
            <ac:spMk id="57" creationId="{052BE2C1-375E-D817-E1DA-763657023C3B}"/>
          </ac:spMkLst>
        </pc:spChg>
        <pc:spChg chg="mod">
          <ac:chgData name="Aurelien Domont" userId="6da7715ce44349b3" providerId="LiveId" clId="{9689C7A7-0C7F-47C6-AB86-2D84D75E0147}" dt="2022-11-01T23:47:06.437" v="3484"/>
          <ac:spMkLst>
            <pc:docMk/>
            <pc:sldMk cId="4265939711" sldId="2479"/>
            <ac:spMk id="58" creationId="{5A5D2C28-31DF-32A9-7059-780279873595}"/>
          </ac:spMkLst>
        </pc:spChg>
        <pc:spChg chg="mod">
          <ac:chgData name="Aurelien Domont" userId="6da7715ce44349b3" providerId="LiveId" clId="{9689C7A7-0C7F-47C6-AB86-2D84D75E0147}" dt="2022-11-01T23:47:06.437" v="3484"/>
          <ac:spMkLst>
            <pc:docMk/>
            <pc:sldMk cId="4265939711" sldId="2479"/>
            <ac:spMk id="59" creationId="{013B7689-EE85-7F0D-211A-AA516A875525}"/>
          </ac:spMkLst>
        </pc:spChg>
        <pc:spChg chg="mod">
          <ac:chgData name="Aurelien Domont" userId="6da7715ce44349b3" providerId="LiveId" clId="{9689C7A7-0C7F-47C6-AB86-2D84D75E0147}" dt="2022-11-01T23:47:06.437" v="3484"/>
          <ac:spMkLst>
            <pc:docMk/>
            <pc:sldMk cId="4265939711" sldId="2479"/>
            <ac:spMk id="60" creationId="{04B22023-AF07-DF69-ABEA-7341D1160D12}"/>
          </ac:spMkLst>
        </pc:spChg>
        <pc:spChg chg="mod">
          <ac:chgData name="Aurelien Domont" userId="6da7715ce44349b3" providerId="LiveId" clId="{9689C7A7-0C7F-47C6-AB86-2D84D75E0147}" dt="2022-11-01T23:47:06.437" v="3484"/>
          <ac:spMkLst>
            <pc:docMk/>
            <pc:sldMk cId="4265939711" sldId="2479"/>
            <ac:spMk id="61" creationId="{313AE91B-2C1D-09A3-3EED-49BB4E510C0F}"/>
          </ac:spMkLst>
        </pc:spChg>
        <pc:spChg chg="mod">
          <ac:chgData name="Aurelien Domont" userId="6da7715ce44349b3" providerId="LiveId" clId="{9689C7A7-0C7F-47C6-AB86-2D84D75E0147}" dt="2022-11-01T23:47:06.437" v="3484"/>
          <ac:spMkLst>
            <pc:docMk/>
            <pc:sldMk cId="4265939711" sldId="2479"/>
            <ac:spMk id="62" creationId="{D153BFBE-5A80-4AD0-4F70-B4B119554834}"/>
          </ac:spMkLst>
        </pc:spChg>
        <pc:spChg chg="mod">
          <ac:chgData name="Aurelien Domont" userId="6da7715ce44349b3" providerId="LiveId" clId="{9689C7A7-0C7F-47C6-AB86-2D84D75E0147}" dt="2022-11-01T23:47:06.437" v="3484"/>
          <ac:spMkLst>
            <pc:docMk/>
            <pc:sldMk cId="4265939711" sldId="2479"/>
            <ac:spMk id="63" creationId="{AE93FE1F-9C87-376E-D7D2-49BE9F832085}"/>
          </ac:spMkLst>
        </pc:spChg>
        <pc:spChg chg="mod">
          <ac:chgData name="Aurelien Domont" userId="6da7715ce44349b3" providerId="LiveId" clId="{9689C7A7-0C7F-47C6-AB86-2D84D75E0147}" dt="2022-11-01T23:47:06.437" v="3484"/>
          <ac:spMkLst>
            <pc:docMk/>
            <pc:sldMk cId="4265939711" sldId="2479"/>
            <ac:spMk id="64" creationId="{435F25BF-AB30-D529-D241-193F95EA2295}"/>
          </ac:spMkLst>
        </pc:spChg>
        <pc:spChg chg="mod">
          <ac:chgData name="Aurelien Domont" userId="6da7715ce44349b3" providerId="LiveId" clId="{9689C7A7-0C7F-47C6-AB86-2D84D75E0147}" dt="2022-11-01T23:47:06.437" v="3484"/>
          <ac:spMkLst>
            <pc:docMk/>
            <pc:sldMk cId="4265939711" sldId="2479"/>
            <ac:spMk id="65" creationId="{BC5D3B88-0AF7-5EE4-9129-9A001AEAAC95}"/>
          </ac:spMkLst>
        </pc:spChg>
        <pc:spChg chg="mod">
          <ac:chgData name="Aurelien Domont" userId="6da7715ce44349b3" providerId="LiveId" clId="{9689C7A7-0C7F-47C6-AB86-2D84D75E0147}" dt="2022-11-01T23:47:06.437" v="3484"/>
          <ac:spMkLst>
            <pc:docMk/>
            <pc:sldMk cId="4265939711" sldId="2479"/>
            <ac:spMk id="66" creationId="{97A2C104-B075-CE1B-A0CF-D0ADCB762073}"/>
          </ac:spMkLst>
        </pc:spChg>
        <pc:spChg chg="mod">
          <ac:chgData name="Aurelien Domont" userId="6da7715ce44349b3" providerId="LiveId" clId="{9689C7A7-0C7F-47C6-AB86-2D84D75E0147}" dt="2022-11-01T23:47:06.437" v="3484"/>
          <ac:spMkLst>
            <pc:docMk/>
            <pc:sldMk cId="4265939711" sldId="2479"/>
            <ac:spMk id="67" creationId="{E4BEF700-1214-1D6C-139C-51998B32DE62}"/>
          </ac:spMkLst>
        </pc:spChg>
        <pc:spChg chg="mod">
          <ac:chgData name="Aurelien Domont" userId="6da7715ce44349b3" providerId="LiveId" clId="{9689C7A7-0C7F-47C6-AB86-2D84D75E0147}" dt="2022-11-01T23:47:06.437" v="3484"/>
          <ac:spMkLst>
            <pc:docMk/>
            <pc:sldMk cId="4265939711" sldId="2479"/>
            <ac:spMk id="68" creationId="{4127E08F-71EC-DED9-50EA-57F21186B773}"/>
          </ac:spMkLst>
        </pc:spChg>
        <pc:spChg chg="mod">
          <ac:chgData name="Aurelien Domont" userId="6da7715ce44349b3" providerId="LiveId" clId="{9689C7A7-0C7F-47C6-AB86-2D84D75E0147}" dt="2022-11-01T23:47:06.437" v="3484"/>
          <ac:spMkLst>
            <pc:docMk/>
            <pc:sldMk cId="4265939711" sldId="2479"/>
            <ac:spMk id="69" creationId="{8F93426B-AEEA-8DC2-5AE0-474393B2C59C}"/>
          </ac:spMkLst>
        </pc:spChg>
        <pc:spChg chg="mod">
          <ac:chgData name="Aurelien Domont" userId="6da7715ce44349b3" providerId="LiveId" clId="{9689C7A7-0C7F-47C6-AB86-2D84D75E0147}" dt="2022-11-01T23:47:06.437" v="3484"/>
          <ac:spMkLst>
            <pc:docMk/>
            <pc:sldMk cId="4265939711" sldId="2479"/>
            <ac:spMk id="70" creationId="{8D25533B-1BFE-66A2-9F24-D7EDB24B3A76}"/>
          </ac:spMkLst>
        </pc:spChg>
        <pc:spChg chg="mod">
          <ac:chgData name="Aurelien Domont" userId="6da7715ce44349b3" providerId="LiveId" clId="{9689C7A7-0C7F-47C6-AB86-2D84D75E0147}" dt="2022-11-01T23:47:06.437" v="3484"/>
          <ac:spMkLst>
            <pc:docMk/>
            <pc:sldMk cId="4265939711" sldId="2479"/>
            <ac:spMk id="71" creationId="{EFD6C8AE-B1A7-CEE5-ECBC-4553D96B0DB1}"/>
          </ac:spMkLst>
        </pc:spChg>
        <pc:spChg chg="mod">
          <ac:chgData name="Aurelien Domont" userId="6da7715ce44349b3" providerId="LiveId" clId="{9689C7A7-0C7F-47C6-AB86-2D84D75E0147}" dt="2022-11-01T23:47:06.437" v="3484"/>
          <ac:spMkLst>
            <pc:docMk/>
            <pc:sldMk cId="4265939711" sldId="2479"/>
            <ac:spMk id="72" creationId="{4327B5ED-0B08-10F7-F428-CD3B21A03A43}"/>
          </ac:spMkLst>
        </pc:spChg>
        <pc:spChg chg="mod">
          <ac:chgData name="Aurelien Domont" userId="6da7715ce44349b3" providerId="LiveId" clId="{9689C7A7-0C7F-47C6-AB86-2D84D75E0147}" dt="2022-11-01T23:47:06.437" v="3484"/>
          <ac:spMkLst>
            <pc:docMk/>
            <pc:sldMk cId="4265939711" sldId="2479"/>
            <ac:spMk id="73" creationId="{9AB1AA30-C67A-5BF8-23FC-9D7DE1644536}"/>
          </ac:spMkLst>
        </pc:spChg>
        <pc:spChg chg="mod">
          <ac:chgData name="Aurelien Domont" userId="6da7715ce44349b3" providerId="LiveId" clId="{9689C7A7-0C7F-47C6-AB86-2D84D75E0147}" dt="2022-11-01T23:47:06.437" v="3484"/>
          <ac:spMkLst>
            <pc:docMk/>
            <pc:sldMk cId="4265939711" sldId="2479"/>
            <ac:spMk id="74" creationId="{BDBE73C1-9BFB-9F97-6BB8-29ADE487FA87}"/>
          </ac:spMkLst>
        </pc:spChg>
        <pc:spChg chg="mod">
          <ac:chgData name="Aurelien Domont" userId="6da7715ce44349b3" providerId="LiveId" clId="{9689C7A7-0C7F-47C6-AB86-2D84D75E0147}" dt="2022-11-01T23:47:06.437" v="3484"/>
          <ac:spMkLst>
            <pc:docMk/>
            <pc:sldMk cId="4265939711" sldId="2479"/>
            <ac:spMk id="75" creationId="{FB46E6C0-98F6-8B39-6C95-946CD484BE09}"/>
          </ac:spMkLst>
        </pc:spChg>
        <pc:spChg chg="mod">
          <ac:chgData name="Aurelien Domont" userId="6da7715ce44349b3" providerId="LiveId" clId="{9689C7A7-0C7F-47C6-AB86-2D84D75E0147}" dt="2022-11-01T23:47:06.437" v="3484"/>
          <ac:spMkLst>
            <pc:docMk/>
            <pc:sldMk cId="4265939711" sldId="2479"/>
            <ac:spMk id="76" creationId="{0F237CAD-F3A2-E0D7-8F0D-BE74AD958DAD}"/>
          </ac:spMkLst>
        </pc:spChg>
        <pc:spChg chg="mod">
          <ac:chgData name="Aurelien Domont" userId="6da7715ce44349b3" providerId="LiveId" clId="{9689C7A7-0C7F-47C6-AB86-2D84D75E0147}" dt="2022-11-01T23:47:06.437" v="3484"/>
          <ac:spMkLst>
            <pc:docMk/>
            <pc:sldMk cId="4265939711" sldId="2479"/>
            <ac:spMk id="77" creationId="{49675760-C2CC-39E1-636F-195E3599E19E}"/>
          </ac:spMkLst>
        </pc:spChg>
        <pc:spChg chg="mod">
          <ac:chgData name="Aurelien Domont" userId="6da7715ce44349b3" providerId="LiveId" clId="{9689C7A7-0C7F-47C6-AB86-2D84D75E0147}" dt="2022-11-01T23:47:06.437" v="3484"/>
          <ac:spMkLst>
            <pc:docMk/>
            <pc:sldMk cId="4265939711" sldId="2479"/>
            <ac:spMk id="78" creationId="{F7E25228-8C32-8313-D6B0-890DB9388D6A}"/>
          </ac:spMkLst>
        </pc:spChg>
        <pc:spChg chg="mod">
          <ac:chgData name="Aurelien Domont" userId="6da7715ce44349b3" providerId="LiveId" clId="{9689C7A7-0C7F-47C6-AB86-2D84D75E0147}" dt="2022-11-01T23:47:06.437" v="3484"/>
          <ac:spMkLst>
            <pc:docMk/>
            <pc:sldMk cId="4265939711" sldId="2479"/>
            <ac:spMk id="79" creationId="{208245E7-F632-572E-9ABE-1DE32BC510E6}"/>
          </ac:spMkLst>
        </pc:spChg>
        <pc:spChg chg="mod">
          <ac:chgData name="Aurelien Domont" userId="6da7715ce44349b3" providerId="LiveId" clId="{9689C7A7-0C7F-47C6-AB86-2D84D75E0147}" dt="2022-11-01T23:47:06.437" v="3484"/>
          <ac:spMkLst>
            <pc:docMk/>
            <pc:sldMk cId="4265939711" sldId="2479"/>
            <ac:spMk id="80" creationId="{B45E140D-16B3-C8FF-5033-955C279C858C}"/>
          </ac:spMkLst>
        </pc:spChg>
        <pc:spChg chg="mod">
          <ac:chgData name="Aurelien Domont" userId="6da7715ce44349b3" providerId="LiveId" clId="{9689C7A7-0C7F-47C6-AB86-2D84D75E0147}" dt="2022-11-01T23:47:06.437" v="3484"/>
          <ac:spMkLst>
            <pc:docMk/>
            <pc:sldMk cId="4265939711" sldId="2479"/>
            <ac:spMk id="81" creationId="{5ED010D1-888E-825C-759D-9F9114240A3D}"/>
          </ac:spMkLst>
        </pc:spChg>
        <pc:spChg chg="mod">
          <ac:chgData name="Aurelien Domont" userId="6da7715ce44349b3" providerId="LiveId" clId="{9689C7A7-0C7F-47C6-AB86-2D84D75E0147}" dt="2022-11-01T23:47:06.437" v="3484"/>
          <ac:spMkLst>
            <pc:docMk/>
            <pc:sldMk cId="4265939711" sldId="2479"/>
            <ac:spMk id="82" creationId="{F81464CA-7A54-613C-C7AB-C7D7DD33A45C}"/>
          </ac:spMkLst>
        </pc:spChg>
        <pc:spChg chg="mod">
          <ac:chgData name="Aurelien Domont" userId="6da7715ce44349b3" providerId="LiveId" clId="{9689C7A7-0C7F-47C6-AB86-2D84D75E0147}" dt="2022-11-01T23:47:06.437" v="3484"/>
          <ac:spMkLst>
            <pc:docMk/>
            <pc:sldMk cId="4265939711" sldId="2479"/>
            <ac:spMk id="83" creationId="{1F7EC147-E5D0-F46E-6BB9-AC4865A648CC}"/>
          </ac:spMkLst>
        </pc:spChg>
        <pc:spChg chg="mod">
          <ac:chgData name="Aurelien Domont" userId="6da7715ce44349b3" providerId="LiveId" clId="{9689C7A7-0C7F-47C6-AB86-2D84D75E0147}" dt="2022-11-01T23:47:06.437" v="3484"/>
          <ac:spMkLst>
            <pc:docMk/>
            <pc:sldMk cId="4265939711" sldId="2479"/>
            <ac:spMk id="84" creationId="{56188E3E-BFFF-ADA0-DC5D-E81D979EB689}"/>
          </ac:spMkLst>
        </pc:spChg>
        <pc:spChg chg="mod">
          <ac:chgData name="Aurelien Domont" userId="6da7715ce44349b3" providerId="LiveId" clId="{9689C7A7-0C7F-47C6-AB86-2D84D75E0147}" dt="2022-11-01T23:47:06.437" v="3484"/>
          <ac:spMkLst>
            <pc:docMk/>
            <pc:sldMk cId="4265939711" sldId="2479"/>
            <ac:spMk id="85" creationId="{83E2D4A1-AF6A-B87E-1587-EF0EE5AA8937}"/>
          </ac:spMkLst>
        </pc:spChg>
        <pc:spChg chg="mod">
          <ac:chgData name="Aurelien Domont" userId="6da7715ce44349b3" providerId="LiveId" clId="{9689C7A7-0C7F-47C6-AB86-2D84D75E0147}" dt="2022-11-01T23:47:06.437" v="3484"/>
          <ac:spMkLst>
            <pc:docMk/>
            <pc:sldMk cId="4265939711" sldId="2479"/>
            <ac:spMk id="86" creationId="{D4DB4A53-67C1-6997-933F-B353A2AB7121}"/>
          </ac:spMkLst>
        </pc:spChg>
        <pc:spChg chg="mod">
          <ac:chgData name="Aurelien Domont" userId="6da7715ce44349b3" providerId="LiveId" clId="{9689C7A7-0C7F-47C6-AB86-2D84D75E0147}" dt="2022-11-01T23:47:06.437" v="3484"/>
          <ac:spMkLst>
            <pc:docMk/>
            <pc:sldMk cId="4265939711" sldId="2479"/>
            <ac:spMk id="87" creationId="{604540C0-350A-4D65-765A-B107681C509F}"/>
          </ac:spMkLst>
        </pc:spChg>
        <pc:spChg chg="mod">
          <ac:chgData name="Aurelien Domont" userId="6da7715ce44349b3" providerId="LiveId" clId="{9689C7A7-0C7F-47C6-AB86-2D84D75E0147}" dt="2022-11-01T23:47:06.437" v="3484"/>
          <ac:spMkLst>
            <pc:docMk/>
            <pc:sldMk cId="4265939711" sldId="2479"/>
            <ac:spMk id="88" creationId="{6408FBFD-A222-684D-7C9D-4383ACE466EC}"/>
          </ac:spMkLst>
        </pc:spChg>
        <pc:spChg chg="mod">
          <ac:chgData name="Aurelien Domont" userId="6da7715ce44349b3" providerId="LiveId" clId="{9689C7A7-0C7F-47C6-AB86-2D84D75E0147}" dt="2022-11-01T23:47:06.437" v="3484"/>
          <ac:spMkLst>
            <pc:docMk/>
            <pc:sldMk cId="4265939711" sldId="2479"/>
            <ac:spMk id="89" creationId="{4A7BFC0F-29BE-DC85-742C-7F91CC208A1D}"/>
          </ac:spMkLst>
        </pc:spChg>
        <pc:spChg chg="mod">
          <ac:chgData name="Aurelien Domont" userId="6da7715ce44349b3" providerId="LiveId" clId="{9689C7A7-0C7F-47C6-AB86-2D84D75E0147}" dt="2022-11-01T23:47:06.437" v="3484"/>
          <ac:spMkLst>
            <pc:docMk/>
            <pc:sldMk cId="4265939711" sldId="2479"/>
            <ac:spMk id="90" creationId="{C8390E6E-4A69-35E9-D880-DCD0C1D08DDB}"/>
          </ac:spMkLst>
        </pc:spChg>
        <pc:spChg chg="mod">
          <ac:chgData name="Aurelien Domont" userId="6da7715ce44349b3" providerId="LiveId" clId="{9689C7A7-0C7F-47C6-AB86-2D84D75E0147}" dt="2022-11-01T23:47:06.437" v="3484"/>
          <ac:spMkLst>
            <pc:docMk/>
            <pc:sldMk cId="4265939711" sldId="2479"/>
            <ac:spMk id="91" creationId="{33ACA873-4D87-0EBC-FE6C-B314D262575C}"/>
          </ac:spMkLst>
        </pc:spChg>
        <pc:spChg chg="mod">
          <ac:chgData name="Aurelien Domont" userId="6da7715ce44349b3" providerId="LiveId" clId="{9689C7A7-0C7F-47C6-AB86-2D84D75E0147}" dt="2022-11-01T23:47:06.437" v="3484"/>
          <ac:spMkLst>
            <pc:docMk/>
            <pc:sldMk cId="4265939711" sldId="2479"/>
            <ac:spMk id="92" creationId="{ABA50901-0716-6C9E-EE81-81CE7529C6EA}"/>
          </ac:spMkLst>
        </pc:spChg>
        <pc:spChg chg="mod">
          <ac:chgData name="Aurelien Domont" userId="6da7715ce44349b3" providerId="LiveId" clId="{9689C7A7-0C7F-47C6-AB86-2D84D75E0147}" dt="2022-11-01T23:47:06.437" v="3484"/>
          <ac:spMkLst>
            <pc:docMk/>
            <pc:sldMk cId="4265939711" sldId="2479"/>
            <ac:spMk id="93" creationId="{4FBECBB6-788E-AF9A-0C84-4A0321D253EF}"/>
          </ac:spMkLst>
        </pc:spChg>
        <pc:spChg chg="mod">
          <ac:chgData name="Aurelien Domont" userId="6da7715ce44349b3" providerId="LiveId" clId="{9689C7A7-0C7F-47C6-AB86-2D84D75E0147}" dt="2022-11-01T23:47:06.437" v="3484"/>
          <ac:spMkLst>
            <pc:docMk/>
            <pc:sldMk cId="4265939711" sldId="2479"/>
            <ac:spMk id="94" creationId="{7DA1F7AF-90B8-9111-F32A-7FCF84DE19A4}"/>
          </ac:spMkLst>
        </pc:spChg>
        <pc:spChg chg="mod">
          <ac:chgData name="Aurelien Domont" userId="6da7715ce44349b3" providerId="LiveId" clId="{9689C7A7-0C7F-47C6-AB86-2D84D75E0147}" dt="2022-11-01T23:47:06.437" v="3484"/>
          <ac:spMkLst>
            <pc:docMk/>
            <pc:sldMk cId="4265939711" sldId="2479"/>
            <ac:spMk id="95" creationId="{83FB6715-2001-E995-CDA9-78735255A9A1}"/>
          </ac:spMkLst>
        </pc:spChg>
        <pc:spChg chg="mod">
          <ac:chgData name="Aurelien Domont" userId="6da7715ce44349b3" providerId="LiveId" clId="{9689C7A7-0C7F-47C6-AB86-2D84D75E0147}" dt="2022-11-01T23:47:06.437" v="3484"/>
          <ac:spMkLst>
            <pc:docMk/>
            <pc:sldMk cId="4265939711" sldId="2479"/>
            <ac:spMk id="96" creationId="{9A2CF875-3C34-5906-DDFD-093C4A3A8428}"/>
          </ac:spMkLst>
        </pc:spChg>
        <pc:spChg chg="mod">
          <ac:chgData name="Aurelien Domont" userId="6da7715ce44349b3" providerId="LiveId" clId="{9689C7A7-0C7F-47C6-AB86-2D84D75E0147}" dt="2022-11-01T23:47:06.437" v="3484"/>
          <ac:spMkLst>
            <pc:docMk/>
            <pc:sldMk cId="4265939711" sldId="2479"/>
            <ac:spMk id="97" creationId="{23D82AB1-C92A-8D89-D525-2589562B4A1E}"/>
          </ac:spMkLst>
        </pc:spChg>
        <pc:spChg chg="mod">
          <ac:chgData name="Aurelien Domont" userId="6da7715ce44349b3" providerId="LiveId" clId="{9689C7A7-0C7F-47C6-AB86-2D84D75E0147}" dt="2022-11-01T23:47:06.437" v="3484"/>
          <ac:spMkLst>
            <pc:docMk/>
            <pc:sldMk cId="4265939711" sldId="2479"/>
            <ac:spMk id="98" creationId="{79F685EE-B21C-1234-A9AF-5747B13D4853}"/>
          </ac:spMkLst>
        </pc:spChg>
        <pc:spChg chg="mod">
          <ac:chgData name="Aurelien Domont" userId="6da7715ce44349b3" providerId="LiveId" clId="{9689C7A7-0C7F-47C6-AB86-2D84D75E0147}" dt="2022-11-01T23:47:06.437" v="3484"/>
          <ac:spMkLst>
            <pc:docMk/>
            <pc:sldMk cId="4265939711" sldId="2479"/>
            <ac:spMk id="99" creationId="{4151C230-BE31-8DA7-9796-18FCC508EFD4}"/>
          </ac:spMkLst>
        </pc:spChg>
        <pc:spChg chg="mod">
          <ac:chgData name="Aurelien Domont" userId="6da7715ce44349b3" providerId="LiveId" clId="{9689C7A7-0C7F-47C6-AB86-2D84D75E0147}" dt="2022-11-01T23:47:06.437" v="3484"/>
          <ac:spMkLst>
            <pc:docMk/>
            <pc:sldMk cId="4265939711" sldId="2479"/>
            <ac:spMk id="100" creationId="{700E56AE-A0DF-685E-B59A-2F6ABDC4CF37}"/>
          </ac:spMkLst>
        </pc:spChg>
        <pc:spChg chg="mod">
          <ac:chgData name="Aurelien Domont" userId="6da7715ce44349b3" providerId="LiveId" clId="{9689C7A7-0C7F-47C6-AB86-2D84D75E0147}" dt="2022-11-01T23:47:06.437" v="3484"/>
          <ac:spMkLst>
            <pc:docMk/>
            <pc:sldMk cId="4265939711" sldId="2479"/>
            <ac:spMk id="101" creationId="{2CEA792D-6793-5A6A-A166-763F45D45457}"/>
          </ac:spMkLst>
        </pc:spChg>
        <pc:spChg chg="mod">
          <ac:chgData name="Aurelien Domont" userId="6da7715ce44349b3" providerId="LiveId" clId="{9689C7A7-0C7F-47C6-AB86-2D84D75E0147}" dt="2022-11-01T23:47:06.437" v="3484"/>
          <ac:spMkLst>
            <pc:docMk/>
            <pc:sldMk cId="4265939711" sldId="2479"/>
            <ac:spMk id="102" creationId="{34C23AAD-8884-13A6-7B7A-931313F801E0}"/>
          </ac:spMkLst>
        </pc:spChg>
        <pc:spChg chg="mod">
          <ac:chgData name="Aurelien Domont" userId="6da7715ce44349b3" providerId="LiveId" clId="{9689C7A7-0C7F-47C6-AB86-2D84D75E0147}" dt="2022-11-01T23:47:06.437" v="3484"/>
          <ac:spMkLst>
            <pc:docMk/>
            <pc:sldMk cId="4265939711" sldId="2479"/>
            <ac:spMk id="103" creationId="{686255F7-6EF6-28DF-9BF1-822790211ED4}"/>
          </ac:spMkLst>
        </pc:spChg>
        <pc:spChg chg="mod">
          <ac:chgData name="Aurelien Domont" userId="6da7715ce44349b3" providerId="LiveId" clId="{9689C7A7-0C7F-47C6-AB86-2D84D75E0147}" dt="2022-11-01T23:47:06.437" v="3484"/>
          <ac:spMkLst>
            <pc:docMk/>
            <pc:sldMk cId="4265939711" sldId="2479"/>
            <ac:spMk id="104" creationId="{6C192091-30A3-5A28-2A88-B79C619C7B96}"/>
          </ac:spMkLst>
        </pc:spChg>
        <pc:spChg chg="mod">
          <ac:chgData name="Aurelien Domont" userId="6da7715ce44349b3" providerId="LiveId" clId="{9689C7A7-0C7F-47C6-AB86-2D84D75E0147}" dt="2022-11-01T23:47:06.437" v="3484"/>
          <ac:spMkLst>
            <pc:docMk/>
            <pc:sldMk cId="4265939711" sldId="2479"/>
            <ac:spMk id="105" creationId="{00900CFA-4DBD-C3E9-C1A0-BC5F0E97FEE2}"/>
          </ac:spMkLst>
        </pc:spChg>
        <pc:spChg chg="mod">
          <ac:chgData name="Aurelien Domont" userId="6da7715ce44349b3" providerId="LiveId" clId="{9689C7A7-0C7F-47C6-AB86-2D84D75E0147}" dt="2022-11-01T23:47:06.437" v="3484"/>
          <ac:spMkLst>
            <pc:docMk/>
            <pc:sldMk cId="4265939711" sldId="2479"/>
            <ac:spMk id="106" creationId="{98295BE1-051F-3888-3BC0-F6A1AE6C6FE0}"/>
          </ac:spMkLst>
        </pc:spChg>
        <pc:spChg chg="mod">
          <ac:chgData name="Aurelien Domont" userId="6da7715ce44349b3" providerId="LiveId" clId="{9689C7A7-0C7F-47C6-AB86-2D84D75E0147}" dt="2022-11-01T23:47:06.437" v="3484"/>
          <ac:spMkLst>
            <pc:docMk/>
            <pc:sldMk cId="4265939711" sldId="2479"/>
            <ac:spMk id="107" creationId="{9E6F2419-D5DE-01E4-DF2A-3A2756CD136E}"/>
          </ac:spMkLst>
        </pc:spChg>
        <pc:spChg chg="mod">
          <ac:chgData name="Aurelien Domont" userId="6da7715ce44349b3" providerId="LiveId" clId="{9689C7A7-0C7F-47C6-AB86-2D84D75E0147}" dt="2022-11-01T23:47:06.437" v="3484"/>
          <ac:spMkLst>
            <pc:docMk/>
            <pc:sldMk cId="4265939711" sldId="2479"/>
            <ac:spMk id="108" creationId="{CCD4127B-2E8A-2667-9DD8-B2E9727A3110}"/>
          </ac:spMkLst>
        </pc:spChg>
        <pc:spChg chg="mod">
          <ac:chgData name="Aurelien Domont" userId="6da7715ce44349b3" providerId="LiveId" clId="{9689C7A7-0C7F-47C6-AB86-2D84D75E0147}" dt="2022-11-01T23:47:06.437" v="3484"/>
          <ac:spMkLst>
            <pc:docMk/>
            <pc:sldMk cId="4265939711" sldId="2479"/>
            <ac:spMk id="109" creationId="{83ABE112-4989-E36E-D9A6-12328C39D372}"/>
          </ac:spMkLst>
        </pc:spChg>
        <pc:spChg chg="mod">
          <ac:chgData name="Aurelien Domont" userId="6da7715ce44349b3" providerId="LiveId" clId="{9689C7A7-0C7F-47C6-AB86-2D84D75E0147}" dt="2022-11-01T23:47:06.437" v="3484"/>
          <ac:spMkLst>
            <pc:docMk/>
            <pc:sldMk cId="4265939711" sldId="2479"/>
            <ac:spMk id="110" creationId="{81DBF351-D656-6A8C-DA41-E5BBC2D2C16B}"/>
          </ac:spMkLst>
        </pc:spChg>
        <pc:spChg chg="mod">
          <ac:chgData name="Aurelien Domont" userId="6da7715ce44349b3" providerId="LiveId" clId="{9689C7A7-0C7F-47C6-AB86-2D84D75E0147}" dt="2022-11-01T23:47:06.437" v="3484"/>
          <ac:spMkLst>
            <pc:docMk/>
            <pc:sldMk cId="4265939711" sldId="2479"/>
            <ac:spMk id="111" creationId="{0A6E672B-E76C-1288-CFBD-E2E626B921F2}"/>
          </ac:spMkLst>
        </pc:spChg>
        <pc:spChg chg="mod">
          <ac:chgData name="Aurelien Domont" userId="6da7715ce44349b3" providerId="LiveId" clId="{9689C7A7-0C7F-47C6-AB86-2D84D75E0147}" dt="2022-11-01T23:47:06.437" v="3484"/>
          <ac:spMkLst>
            <pc:docMk/>
            <pc:sldMk cId="4265939711" sldId="2479"/>
            <ac:spMk id="112" creationId="{31E22B04-F6B0-D99A-6F6E-0557E1D3BE0B}"/>
          </ac:spMkLst>
        </pc:spChg>
        <pc:spChg chg="mod">
          <ac:chgData name="Aurelien Domont" userId="6da7715ce44349b3" providerId="LiveId" clId="{9689C7A7-0C7F-47C6-AB86-2D84D75E0147}" dt="2022-11-01T23:47:06.437" v="3484"/>
          <ac:spMkLst>
            <pc:docMk/>
            <pc:sldMk cId="4265939711" sldId="2479"/>
            <ac:spMk id="113" creationId="{0040758F-6A01-7044-5CA0-2471F87775D5}"/>
          </ac:spMkLst>
        </pc:spChg>
        <pc:spChg chg="mod">
          <ac:chgData name="Aurelien Domont" userId="6da7715ce44349b3" providerId="LiveId" clId="{9689C7A7-0C7F-47C6-AB86-2D84D75E0147}" dt="2022-11-01T23:47:06.437" v="3484"/>
          <ac:spMkLst>
            <pc:docMk/>
            <pc:sldMk cId="4265939711" sldId="2479"/>
            <ac:spMk id="114" creationId="{8AF27F0E-1AA6-C367-3C64-7591047D57FB}"/>
          </ac:spMkLst>
        </pc:spChg>
        <pc:spChg chg="mod">
          <ac:chgData name="Aurelien Domont" userId="6da7715ce44349b3" providerId="LiveId" clId="{9689C7A7-0C7F-47C6-AB86-2D84D75E0147}" dt="2022-11-01T23:47:06.437" v="3484"/>
          <ac:spMkLst>
            <pc:docMk/>
            <pc:sldMk cId="4265939711" sldId="2479"/>
            <ac:spMk id="115" creationId="{E4CB1726-2DDD-94F8-EEBF-DE616ABF61F3}"/>
          </ac:spMkLst>
        </pc:spChg>
        <pc:spChg chg="mod">
          <ac:chgData name="Aurelien Domont" userId="6da7715ce44349b3" providerId="LiveId" clId="{9689C7A7-0C7F-47C6-AB86-2D84D75E0147}" dt="2022-11-01T23:47:06.437" v="3484"/>
          <ac:spMkLst>
            <pc:docMk/>
            <pc:sldMk cId="4265939711" sldId="2479"/>
            <ac:spMk id="116" creationId="{5E523183-E798-F51F-331A-78C9E5B4A799}"/>
          </ac:spMkLst>
        </pc:spChg>
        <pc:spChg chg="mod">
          <ac:chgData name="Aurelien Domont" userId="6da7715ce44349b3" providerId="LiveId" clId="{9689C7A7-0C7F-47C6-AB86-2D84D75E0147}" dt="2022-11-01T23:47:06.437" v="3484"/>
          <ac:spMkLst>
            <pc:docMk/>
            <pc:sldMk cId="4265939711" sldId="2479"/>
            <ac:spMk id="117" creationId="{2879C0CD-0FF4-1EFB-B287-13808563F8F1}"/>
          </ac:spMkLst>
        </pc:spChg>
        <pc:spChg chg="mod">
          <ac:chgData name="Aurelien Domont" userId="6da7715ce44349b3" providerId="LiveId" clId="{9689C7A7-0C7F-47C6-AB86-2D84D75E0147}" dt="2022-11-01T23:47:06.437" v="3484"/>
          <ac:spMkLst>
            <pc:docMk/>
            <pc:sldMk cId="4265939711" sldId="2479"/>
            <ac:spMk id="118" creationId="{36CC91EF-9037-08DB-EAFB-C40554E8F9FE}"/>
          </ac:spMkLst>
        </pc:spChg>
        <pc:spChg chg="mod">
          <ac:chgData name="Aurelien Domont" userId="6da7715ce44349b3" providerId="LiveId" clId="{9689C7A7-0C7F-47C6-AB86-2D84D75E0147}" dt="2022-11-01T23:47:06.437" v="3484"/>
          <ac:spMkLst>
            <pc:docMk/>
            <pc:sldMk cId="4265939711" sldId="2479"/>
            <ac:spMk id="119" creationId="{6EF9B731-5FC3-18EC-25AE-F0A6CEE9626B}"/>
          </ac:spMkLst>
        </pc:spChg>
        <pc:spChg chg="mod">
          <ac:chgData name="Aurelien Domont" userId="6da7715ce44349b3" providerId="LiveId" clId="{9689C7A7-0C7F-47C6-AB86-2D84D75E0147}" dt="2022-11-01T23:47:06.437" v="3484"/>
          <ac:spMkLst>
            <pc:docMk/>
            <pc:sldMk cId="4265939711" sldId="2479"/>
            <ac:spMk id="120" creationId="{AC209971-08FA-4A39-307E-B5C0A6FB8EC1}"/>
          </ac:spMkLst>
        </pc:spChg>
        <pc:spChg chg="mod">
          <ac:chgData name="Aurelien Domont" userId="6da7715ce44349b3" providerId="LiveId" clId="{9689C7A7-0C7F-47C6-AB86-2D84D75E0147}" dt="2022-11-01T23:47:06.437" v="3484"/>
          <ac:spMkLst>
            <pc:docMk/>
            <pc:sldMk cId="4265939711" sldId="2479"/>
            <ac:spMk id="121" creationId="{CAE29E26-EDC7-6150-1328-DBFBFB5A317A}"/>
          </ac:spMkLst>
        </pc:spChg>
        <pc:spChg chg="mod">
          <ac:chgData name="Aurelien Domont" userId="6da7715ce44349b3" providerId="LiveId" clId="{9689C7A7-0C7F-47C6-AB86-2D84D75E0147}" dt="2022-11-01T23:47:06.437" v="3484"/>
          <ac:spMkLst>
            <pc:docMk/>
            <pc:sldMk cId="4265939711" sldId="2479"/>
            <ac:spMk id="122" creationId="{96E195D1-1A9B-33D8-3E51-D2DC2B015ACD}"/>
          </ac:spMkLst>
        </pc:spChg>
        <pc:spChg chg="mod">
          <ac:chgData name="Aurelien Domont" userId="6da7715ce44349b3" providerId="LiveId" clId="{9689C7A7-0C7F-47C6-AB86-2D84D75E0147}" dt="2022-11-01T23:47:06.437" v="3484"/>
          <ac:spMkLst>
            <pc:docMk/>
            <pc:sldMk cId="4265939711" sldId="2479"/>
            <ac:spMk id="123" creationId="{DB6CA052-60B3-798C-20A9-73D49EA8DD0E}"/>
          </ac:spMkLst>
        </pc:spChg>
        <pc:spChg chg="mod">
          <ac:chgData name="Aurelien Domont" userId="6da7715ce44349b3" providerId="LiveId" clId="{9689C7A7-0C7F-47C6-AB86-2D84D75E0147}" dt="2022-11-01T23:47:06.437" v="3484"/>
          <ac:spMkLst>
            <pc:docMk/>
            <pc:sldMk cId="4265939711" sldId="2479"/>
            <ac:spMk id="124" creationId="{D8BA99B5-FD48-F460-6051-07071A521226}"/>
          </ac:spMkLst>
        </pc:spChg>
        <pc:spChg chg="mod">
          <ac:chgData name="Aurelien Domont" userId="6da7715ce44349b3" providerId="LiveId" clId="{9689C7A7-0C7F-47C6-AB86-2D84D75E0147}" dt="2022-11-01T23:47:06.437" v="3484"/>
          <ac:spMkLst>
            <pc:docMk/>
            <pc:sldMk cId="4265939711" sldId="2479"/>
            <ac:spMk id="125" creationId="{5A273E00-266F-F414-919E-F3AC1DC076BB}"/>
          </ac:spMkLst>
        </pc:spChg>
        <pc:spChg chg="mod">
          <ac:chgData name="Aurelien Domont" userId="6da7715ce44349b3" providerId="LiveId" clId="{9689C7A7-0C7F-47C6-AB86-2D84D75E0147}" dt="2022-11-01T23:47:06.437" v="3484"/>
          <ac:spMkLst>
            <pc:docMk/>
            <pc:sldMk cId="4265939711" sldId="2479"/>
            <ac:spMk id="126" creationId="{6B581DA4-5D96-3F1B-6B4A-7BF0E20FFFB8}"/>
          </ac:spMkLst>
        </pc:spChg>
        <pc:spChg chg="mod">
          <ac:chgData name="Aurelien Domont" userId="6da7715ce44349b3" providerId="LiveId" clId="{9689C7A7-0C7F-47C6-AB86-2D84D75E0147}" dt="2022-11-01T23:47:06.437" v="3484"/>
          <ac:spMkLst>
            <pc:docMk/>
            <pc:sldMk cId="4265939711" sldId="2479"/>
            <ac:spMk id="127" creationId="{800BFCB3-07C7-9B46-A24A-279946AF2EEA}"/>
          </ac:spMkLst>
        </pc:spChg>
        <pc:spChg chg="mod">
          <ac:chgData name="Aurelien Domont" userId="6da7715ce44349b3" providerId="LiveId" clId="{9689C7A7-0C7F-47C6-AB86-2D84D75E0147}" dt="2022-11-01T23:47:06.437" v="3484"/>
          <ac:spMkLst>
            <pc:docMk/>
            <pc:sldMk cId="4265939711" sldId="2479"/>
            <ac:spMk id="128" creationId="{F5B5E894-D486-E4E8-585E-12C148836341}"/>
          </ac:spMkLst>
        </pc:spChg>
        <pc:spChg chg="mod">
          <ac:chgData name="Aurelien Domont" userId="6da7715ce44349b3" providerId="LiveId" clId="{9689C7A7-0C7F-47C6-AB86-2D84D75E0147}" dt="2022-11-01T23:47:06.437" v="3484"/>
          <ac:spMkLst>
            <pc:docMk/>
            <pc:sldMk cId="4265939711" sldId="2479"/>
            <ac:spMk id="129" creationId="{58FB5745-306D-4ECB-A30F-465205210486}"/>
          </ac:spMkLst>
        </pc:spChg>
        <pc:spChg chg="mod">
          <ac:chgData name="Aurelien Domont" userId="6da7715ce44349b3" providerId="LiveId" clId="{9689C7A7-0C7F-47C6-AB86-2D84D75E0147}" dt="2022-11-01T23:47:06.437" v="3484"/>
          <ac:spMkLst>
            <pc:docMk/>
            <pc:sldMk cId="4265939711" sldId="2479"/>
            <ac:spMk id="138" creationId="{9A4A1B19-0015-6860-2BD6-8C594A4395BA}"/>
          </ac:spMkLst>
        </pc:spChg>
        <pc:spChg chg="mod">
          <ac:chgData name="Aurelien Domont" userId="6da7715ce44349b3" providerId="LiveId" clId="{9689C7A7-0C7F-47C6-AB86-2D84D75E0147}" dt="2022-11-01T23:47:06.437" v="3484"/>
          <ac:spMkLst>
            <pc:docMk/>
            <pc:sldMk cId="4265939711" sldId="2479"/>
            <ac:spMk id="139" creationId="{9C7149DB-4FCD-15AE-948D-AFE1D5C9C272}"/>
          </ac:spMkLst>
        </pc:spChg>
        <pc:spChg chg="mod">
          <ac:chgData name="Aurelien Domont" userId="6da7715ce44349b3" providerId="LiveId" clId="{9689C7A7-0C7F-47C6-AB86-2D84D75E0147}" dt="2022-11-01T23:47:06.437" v="3484"/>
          <ac:spMkLst>
            <pc:docMk/>
            <pc:sldMk cId="4265939711" sldId="2479"/>
            <ac:spMk id="140" creationId="{207D102A-EFF2-524C-9FD6-05E4DA9ABE7B}"/>
          </ac:spMkLst>
        </pc:spChg>
        <pc:spChg chg="mod">
          <ac:chgData name="Aurelien Domont" userId="6da7715ce44349b3" providerId="LiveId" clId="{9689C7A7-0C7F-47C6-AB86-2D84D75E0147}" dt="2022-11-01T23:47:06.437" v="3484"/>
          <ac:spMkLst>
            <pc:docMk/>
            <pc:sldMk cId="4265939711" sldId="2479"/>
            <ac:spMk id="141" creationId="{1561C709-F52A-A75D-F4B5-FFCF6CACCB5F}"/>
          </ac:spMkLst>
        </pc:spChg>
        <pc:spChg chg="mod">
          <ac:chgData name="Aurelien Domont" userId="6da7715ce44349b3" providerId="LiveId" clId="{9689C7A7-0C7F-47C6-AB86-2D84D75E0147}" dt="2022-11-01T23:47:06.437" v="3484"/>
          <ac:spMkLst>
            <pc:docMk/>
            <pc:sldMk cId="4265939711" sldId="2479"/>
            <ac:spMk id="142" creationId="{B0B2775D-A81F-00BE-BC69-2DDAADCF7AA1}"/>
          </ac:spMkLst>
        </pc:spChg>
        <pc:spChg chg="mod">
          <ac:chgData name="Aurelien Domont" userId="6da7715ce44349b3" providerId="LiveId" clId="{9689C7A7-0C7F-47C6-AB86-2D84D75E0147}" dt="2022-11-01T23:47:06.437" v="3484"/>
          <ac:spMkLst>
            <pc:docMk/>
            <pc:sldMk cId="4265939711" sldId="2479"/>
            <ac:spMk id="143" creationId="{1720AB8A-FEA2-17DC-BAED-D3910E4E27ED}"/>
          </ac:spMkLst>
        </pc:spChg>
        <pc:spChg chg="mod">
          <ac:chgData name="Aurelien Domont" userId="6da7715ce44349b3" providerId="LiveId" clId="{9689C7A7-0C7F-47C6-AB86-2D84D75E0147}" dt="2022-11-01T23:47:06.437" v="3484"/>
          <ac:spMkLst>
            <pc:docMk/>
            <pc:sldMk cId="4265939711" sldId="2479"/>
            <ac:spMk id="144" creationId="{79A79A57-93DD-2C58-497C-9BB57C0D83FF}"/>
          </ac:spMkLst>
        </pc:spChg>
        <pc:spChg chg="mod">
          <ac:chgData name="Aurelien Domont" userId="6da7715ce44349b3" providerId="LiveId" clId="{9689C7A7-0C7F-47C6-AB86-2D84D75E0147}" dt="2022-11-01T23:47:06.437" v="3484"/>
          <ac:spMkLst>
            <pc:docMk/>
            <pc:sldMk cId="4265939711" sldId="2479"/>
            <ac:spMk id="145" creationId="{4BC909E2-E023-076E-ED1B-4CEAFD560D1E}"/>
          </ac:spMkLst>
        </pc:spChg>
        <pc:spChg chg="mod">
          <ac:chgData name="Aurelien Domont" userId="6da7715ce44349b3" providerId="LiveId" clId="{9689C7A7-0C7F-47C6-AB86-2D84D75E0147}" dt="2022-11-01T23:47:06.437" v="3484"/>
          <ac:spMkLst>
            <pc:docMk/>
            <pc:sldMk cId="4265939711" sldId="2479"/>
            <ac:spMk id="146" creationId="{2CFEB137-E86A-A204-3609-F0F92DBBD64D}"/>
          </ac:spMkLst>
        </pc:spChg>
        <pc:spChg chg="mod">
          <ac:chgData name="Aurelien Domont" userId="6da7715ce44349b3" providerId="LiveId" clId="{9689C7A7-0C7F-47C6-AB86-2D84D75E0147}" dt="2022-11-01T23:47:06.437" v="3484"/>
          <ac:spMkLst>
            <pc:docMk/>
            <pc:sldMk cId="4265939711" sldId="2479"/>
            <ac:spMk id="147" creationId="{6B63A529-373F-AD22-ED1D-2F28B5E524E9}"/>
          </ac:spMkLst>
        </pc:spChg>
        <pc:spChg chg="mod">
          <ac:chgData name="Aurelien Domont" userId="6da7715ce44349b3" providerId="LiveId" clId="{9689C7A7-0C7F-47C6-AB86-2D84D75E0147}" dt="2022-11-01T23:47:06.437" v="3484"/>
          <ac:spMkLst>
            <pc:docMk/>
            <pc:sldMk cId="4265939711" sldId="2479"/>
            <ac:spMk id="148" creationId="{267B5813-5FB4-08DF-2225-601CF74A1A0B}"/>
          </ac:spMkLst>
        </pc:spChg>
        <pc:spChg chg="mod">
          <ac:chgData name="Aurelien Domont" userId="6da7715ce44349b3" providerId="LiveId" clId="{9689C7A7-0C7F-47C6-AB86-2D84D75E0147}" dt="2022-11-01T23:47:06.437" v="3484"/>
          <ac:spMkLst>
            <pc:docMk/>
            <pc:sldMk cId="4265939711" sldId="2479"/>
            <ac:spMk id="149" creationId="{38C5C53F-6987-9104-F9EC-92588F0F7D74}"/>
          </ac:spMkLst>
        </pc:spChg>
        <pc:spChg chg="mod">
          <ac:chgData name="Aurelien Domont" userId="6da7715ce44349b3" providerId="LiveId" clId="{9689C7A7-0C7F-47C6-AB86-2D84D75E0147}" dt="2022-11-01T23:47:06.437" v="3484"/>
          <ac:spMkLst>
            <pc:docMk/>
            <pc:sldMk cId="4265939711" sldId="2479"/>
            <ac:spMk id="150" creationId="{6F4D1DC7-276D-5247-F7C0-417A4C598F2D}"/>
          </ac:spMkLst>
        </pc:spChg>
        <pc:spChg chg="mod">
          <ac:chgData name="Aurelien Domont" userId="6da7715ce44349b3" providerId="LiveId" clId="{9689C7A7-0C7F-47C6-AB86-2D84D75E0147}" dt="2022-11-01T23:47:06.437" v="3484"/>
          <ac:spMkLst>
            <pc:docMk/>
            <pc:sldMk cId="4265939711" sldId="2479"/>
            <ac:spMk id="151" creationId="{7D5AA74F-9E91-976D-81B2-9E03D3C25356}"/>
          </ac:spMkLst>
        </pc:spChg>
        <pc:spChg chg="mod">
          <ac:chgData name="Aurelien Domont" userId="6da7715ce44349b3" providerId="LiveId" clId="{9689C7A7-0C7F-47C6-AB86-2D84D75E0147}" dt="2022-11-01T23:47:06.437" v="3484"/>
          <ac:spMkLst>
            <pc:docMk/>
            <pc:sldMk cId="4265939711" sldId="2479"/>
            <ac:spMk id="152" creationId="{10632508-4836-122A-56F0-9E14553B3273}"/>
          </ac:spMkLst>
        </pc:spChg>
        <pc:spChg chg="mod">
          <ac:chgData name="Aurelien Domont" userId="6da7715ce44349b3" providerId="LiveId" clId="{9689C7A7-0C7F-47C6-AB86-2D84D75E0147}" dt="2022-11-01T23:47:06.437" v="3484"/>
          <ac:spMkLst>
            <pc:docMk/>
            <pc:sldMk cId="4265939711" sldId="2479"/>
            <ac:spMk id="153" creationId="{7CD38B6C-2053-1F9A-8D3A-DB5C983448D8}"/>
          </ac:spMkLst>
        </pc:spChg>
        <pc:spChg chg="mod">
          <ac:chgData name="Aurelien Domont" userId="6da7715ce44349b3" providerId="LiveId" clId="{9689C7A7-0C7F-47C6-AB86-2D84D75E0147}" dt="2022-11-01T23:47:06.437" v="3484"/>
          <ac:spMkLst>
            <pc:docMk/>
            <pc:sldMk cId="4265939711" sldId="2479"/>
            <ac:spMk id="154" creationId="{E2E83896-D3FD-EA5D-5557-5480960EFD33}"/>
          </ac:spMkLst>
        </pc:spChg>
        <pc:spChg chg="mod">
          <ac:chgData name="Aurelien Domont" userId="6da7715ce44349b3" providerId="LiveId" clId="{9689C7A7-0C7F-47C6-AB86-2D84D75E0147}" dt="2022-11-01T23:47:06.437" v="3484"/>
          <ac:spMkLst>
            <pc:docMk/>
            <pc:sldMk cId="4265939711" sldId="2479"/>
            <ac:spMk id="155" creationId="{14987C77-9B8D-8940-65BC-24ED369DD284}"/>
          </ac:spMkLst>
        </pc:spChg>
        <pc:spChg chg="mod">
          <ac:chgData name="Aurelien Domont" userId="6da7715ce44349b3" providerId="LiveId" clId="{9689C7A7-0C7F-47C6-AB86-2D84D75E0147}" dt="2022-11-01T23:47:06.437" v="3484"/>
          <ac:spMkLst>
            <pc:docMk/>
            <pc:sldMk cId="4265939711" sldId="2479"/>
            <ac:spMk id="156" creationId="{C2A69EE4-4E90-ADF6-4168-E458ED8AAC9B}"/>
          </ac:spMkLst>
        </pc:spChg>
        <pc:spChg chg="mod">
          <ac:chgData name="Aurelien Domont" userId="6da7715ce44349b3" providerId="LiveId" clId="{9689C7A7-0C7F-47C6-AB86-2D84D75E0147}" dt="2022-11-01T23:47:06.437" v="3484"/>
          <ac:spMkLst>
            <pc:docMk/>
            <pc:sldMk cId="4265939711" sldId="2479"/>
            <ac:spMk id="157" creationId="{C250716F-62A2-BDC9-D46F-1B4BA720DBA4}"/>
          </ac:spMkLst>
        </pc:spChg>
        <pc:spChg chg="mod">
          <ac:chgData name="Aurelien Domont" userId="6da7715ce44349b3" providerId="LiveId" clId="{9689C7A7-0C7F-47C6-AB86-2D84D75E0147}" dt="2022-11-01T23:47:06.437" v="3484"/>
          <ac:spMkLst>
            <pc:docMk/>
            <pc:sldMk cId="4265939711" sldId="2479"/>
            <ac:spMk id="158" creationId="{6B8A13E3-55C8-A9F6-6982-593A331BAE01}"/>
          </ac:spMkLst>
        </pc:spChg>
        <pc:spChg chg="mod">
          <ac:chgData name="Aurelien Domont" userId="6da7715ce44349b3" providerId="LiveId" clId="{9689C7A7-0C7F-47C6-AB86-2D84D75E0147}" dt="2022-11-01T23:47:06.437" v="3484"/>
          <ac:spMkLst>
            <pc:docMk/>
            <pc:sldMk cId="4265939711" sldId="2479"/>
            <ac:spMk id="159" creationId="{8C780677-793C-0DBD-41CB-3583184B9E7A}"/>
          </ac:spMkLst>
        </pc:spChg>
        <pc:spChg chg="mod">
          <ac:chgData name="Aurelien Domont" userId="6da7715ce44349b3" providerId="LiveId" clId="{9689C7A7-0C7F-47C6-AB86-2D84D75E0147}" dt="2022-11-01T23:47:06.437" v="3484"/>
          <ac:spMkLst>
            <pc:docMk/>
            <pc:sldMk cId="4265939711" sldId="2479"/>
            <ac:spMk id="160" creationId="{03E2C216-A4B0-281A-A030-C0771564D6EE}"/>
          </ac:spMkLst>
        </pc:spChg>
        <pc:spChg chg="mod">
          <ac:chgData name="Aurelien Domont" userId="6da7715ce44349b3" providerId="LiveId" clId="{9689C7A7-0C7F-47C6-AB86-2D84D75E0147}" dt="2022-11-01T23:47:06.437" v="3484"/>
          <ac:spMkLst>
            <pc:docMk/>
            <pc:sldMk cId="4265939711" sldId="2479"/>
            <ac:spMk id="161" creationId="{FB8E7AD0-F958-A733-407E-158092489EAA}"/>
          </ac:spMkLst>
        </pc:spChg>
        <pc:spChg chg="mod">
          <ac:chgData name="Aurelien Domont" userId="6da7715ce44349b3" providerId="LiveId" clId="{9689C7A7-0C7F-47C6-AB86-2D84D75E0147}" dt="2022-11-01T23:47:06.437" v="3484"/>
          <ac:spMkLst>
            <pc:docMk/>
            <pc:sldMk cId="4265939711" sldId="2479"/>
            <ac:spMk id="162" creationId="{31BF0E20-7B3B-A358-F572-3AE6C6AFB5A4}"/>
          </ac:spMkLst>
        </pc:spChg>
        <pc:spChg chg="mod">
          <ac:chgData name="Aurelien Domont" userId="6da7715ce44349b3" providerId="LiveId" clId="{9689C7A7-0C7F-47C6-AB86-2D84D75E0147}" dt="2022-11-01T23:47:06.437" v="3484"/>
          <ac:spMkLst>
            <pc:docMk/>
            <pc:sldMk cId="4265939711" sldId="2479"/>
            <ac:spMk id="163" creationId="{4998D4BC-C52C-FF46-0F9A-4D36FBDF4ACB}"/>
          </ac:spMkLst>
        </pc:spChg>
        <pc:spChg chg="mod">
          <ac:chgData name="Aurelien Domont" userId="6da7715ce44349b3" providerId="LiveId" clId="{9689C7A7-0C7F-47C6-AB86-2D84D75E0147}" dt="2022-11-01T23:47:06.437" v="3484"/>
          <ac:spMkLst>
            <pc:docMk/>
            <pc:sldMk cId="4265939711" sldId="2479"/>
            <ac:spMk id="164" creationId="{EFEAC8D4-3C11-F02E-17B0-52154F7A1C4C}"/>
          </ac:spMkLst>
        </pc:spChg>
        <pc:spChg chg="mod">
          <ac:chgData name="Aurelien Domont" userId="6da7715ce44349b3" providerId="LiveId" clId="{9689C7A7-0C7F-47C6-AB86-2D84D75E0147}" dt="2022-11-01T23:47:06.437" v="3484"/>
          <ac:spMkLst>
            <pc:docMk/>
            <pc:sldMk cId="4265939711" sldId="2479"/>
            <ac:spMk id="165" creationId="{979C4F8F-74F9-FAA2-1788-F02A7E822CF7}"/>
          </ac:spMkLst>
        </pc:spChg>
        <pc:spChg chg="mod">
          <ac:chgData name="Aurelien Domont" userId="6da7715ce44349b3" providerId="LiveId" clId="{9689C7A7-0C7F-47C6-AB86-2D84D75E0147}" dt="2022-11-01T23:47:06.437" v="3484"/>
          <ac:spMkLst>
            <pc:docMk/>
            <pc:sldMk cId="4265939711" sldId="2479"/>
            <ac:spMk id="166" creationId="{2BE2EC31-0030-C392-2EB8-762A38698908}"/>
          </ac:spMkLst>
        </pc:spChg>
        <pc:spChg chg="mod">
          <ac:chgData name="Aurelien Domont" userId="6da7715ce44349b3" providerId="LiveId" clId="{9689C7A7-0C7F-47C6-AB86-2D84D75E0147}" dt="2022-11-01T23:47:06.437" v="3484"/>
          <ac:spMkLst>
            <pc:docMk/>
            <pc:sldMk cId="4265939711" sldId="2479"/>
            <ac:spMk id="167" creationId="{CF9C0FFD-D7FA-B695-8C95-712FB62D8DC9}"/>
          </ac:spMkLst>
        </pc:spChg>
        <pc:spChg chg="mod">
          <ac:chgData name="Aurelien Domont" userId="6da7715ce44349b3" providerId="LiveId" clId="{9689C7A7-0C7F-47C6-AB86-2D84D75E0147}" dt="2022-11-01T23:47:06.437" v="3484"/>
          <ac:spMkLst>
            <pc:docMk/>
            <pc:sldMk cId="4265939711" sldId="2479"/>
            <ac:spMk id="168" creationId="{236031AB-0011-0738-D9FD-E368FA969B97}"/>
          </ac:spMkLst>
        </pc:spChg>
        <pc:spChg chg="mod">
          <ac:chgData name="Aurelien Domont" userId="6da7715ce44349b3" providerId="LiveId" clId="{9689C7A7-0C7F-47C6-AB86-2D84D75E0147}" dt="2022-11-01T23:47:06.437" v="3484"/>
          <ac:spMkLst>
            <pc:docMk/>
            <pc:sldMk cId="4265939711" sldId="2479"/>
            <ac:spMk id="169" creationId="{787645E2-8056-DB2B-5897-2581954A00ED}"/>
          </ac:spMkLst>
        </pc:spChg>
        <pc:spChg chg="mod">
          <ac:chgData name="Aurelien Domont" userId="6da7715ce44349b3" providerId="LiveId" clId="{9689C7A7-0C7F-47C6-AB86-2D84D75E0147}" dt="2022-11-01T23:47:06.437" v="3484"/>
          <ac:spMkLst>
            <pc:docMk/>
            <pc:sldMk cId="4265939711" sldId="2479"/>
            <ac:spMk id="170" creationId="{AC02311E-B831-D2E8-2271-6EF95DC41891}"/>
          </ac:spMkLst>
        </pc:spChg>
        <pc:spChg chg="mod">
          <ac:chgData name="Aurelien Domont" userId="6da7715ce44349b3" providerId="LiveId" clId="{9689C7A7-0C7F-47C6-AB86-2D84D75E0147}" dt="2022-11-01T23:47:06.437" v="3484"/>
          <ac:spMkLst>
            <pc:docMk/>
            <pc:sldMk cId="4265939711" sldId="2479"/>
            <ac:spMk id="171" creationId="{FCD12239-7B7F-1799-64CD-57B5A62B3384}"/>
          </ac:spMkLst>
        </pc:spChg>
        <pc:spChg chg="mod">
          <ac:chgData name="Aurelien Domont" userId="6da7715ce44349b3" providerId="LiveId" clId="{9689C7A7-0C7F-47C6-AB86-2D84D75E0147}" dt="2022-11-01T23:47:06.437" v="3484"/>
          <ac:spMkLst>
            <pc:docMk/>
            <pc:sldMk cId="4265939711" sldId="2479"/>
            <ac:spMk id="172" creationId="{46A3CDBD-EE8C-C3DC-2CED-6CB9DC5E456E}"/>
          </ac:spMkLst>
        </pc:spChg>
        <pc:spChg chg="mod">
          <ac:chgData name="Aurelien Domont" userId="6da7715ce44349b3" providerId="LiveId" clId="{9689C7A7-0C7F-47C6-AB86-2D84D75E0147}" dt="2022-11-01T23:47:06.437" v="3484"/>
          <ac:spMkLst>
            <pc:docMk/>
            <pc:sldMk cId="4265939711" sldId="2479"/>
            <ac:spMk id="173" creationId="{4D0FE0BA-8F15-0DEA-653F-0B9A0780A788}"/>
          </ac:spMkLst>
        </pc:spChg>
        <pc:spChg chg="mod">
          <ac:chgData name="Aurelien Domont" userId="6da7715ce44349b3" providerId="LiveId" clId="{9689C7A7-0C7F-47C6-AB86-2D84D75E0147}" dt="2022-11-01T23:47:06.437" v="3484"/>
          <ac:spMkLst>
            <pc:docMk/>
            <pc:sldMk cId="4265939711" sldId="2479"/>
            <ac:spMk id="174" creationId="{943D3D66-6F30-4F97-1690-547CA20A1797}"/>
          </ac:spMkLst>
        </pc:spChg>
        <pc:spChg chg="mod">
          <ac:chgData name="Aurelien Domont" userId="6da7715ce44349b3" providerId="LiveId" clId="{9689C7A7-0C7F-47C6-AB86-2D84D75E0147}" dt="2022-11-01T23:47:06.437" v="3484"/>
          <ac:spMkLst>
            <pc:docMk/>
            <pc:sldMk cId="4265939711" sldId="2479"/>
            <ac:spMk id="175" creationId="{A2150A66-F28A-9C87-4A34-306AC83C6555}"/>
          </ac:spMkLst>
        </pc:spChg>
        <pc:spChg chg="mod">
          <ac:chgData name="Aurelien Domont" userId="6da7715ce44349b3" providerId="LiveId" clId="{9689C7A7-0C7F-47C6-AB86-2D84D75E0147}" dt="2022-11-01T23:47:06.437" v="3484"/>
          <ac:spMkLst>
            <pc:docMk/>
            <pc:sldMk cId="4265939711" sldId="2479"/>
            <ac:spMk id="176" creationId="{C1207286-EBB3-96EA-6C10-490E4E79112A}"/>
          </ac:spMkLst>
        </pc:spChg>
        <pc:spChg chg="mod">
          <ac:chgData name="Aurelien Domont" userId="6da7715ce44349b3" providerId="LiveId" clId="{9689C7A7-0C7F-47C6-AB86-2D84D75E0147}" dt="2022-11-01T23:47:06.437" v="3484"/>
          <ac:spMkLst>
            <pc:docMk/>
            <pc:sldMk cId="4265939711" sldId="2479"/>
            <ac:spMk id="177" creationId="{52ADE414-9E03-C4F7-26BF-5AC50DF912DB}"/>
          </ac:spMkLst>
        </pc:spChg>
        <pc:spChg chg="mod">
          <ac:chgData name="Aurelien Domont" userId="6da7715ce44349b3" providerId="LiveId" clId="{9689C7A7-0C7F-47C6-AB86-2D84D75E0147}" dt="2022-11-01T23:47:06.437" v="3484"/>
          <ac:spMkLst>
            <pc:docMk/>
            <pc:sldMk cId="4265939711" sldId="2479"/>
            <ac:spMk id="179" creationId="{93EE803A-25A0-B0E8-D979-542EC77BEA7E}"/>
          </ac:spMkLst>
        </pc:spChg>
        <pc:spChg chg="mod">
          <ac:chgData name="Aurelien Domont" userId="6da7715ce44349b3" providerId="LiveId" clId="{9689C7A7-0C7F-47C6-AB86-2D84D75E0147}" dt="2022-11-01T23:47:06.437" v="3484"/>
          <ac:spMkLst>
            <pc:docMk/>
            <pc:sldMk cId="4265939711" sldId="2479"/>
            <ac:spMk id="180" creationId="{F793BAB8-898E-C416-0D5E-0A5772D2E458}"/>
          </ac:spMkLst>
        </pc:spChg>
        <pc:spChg chg="mod">
          <ac:chgData name="Aurelien Domont" userId="6da7715ce44349b3" providerId="LiveId" clId="{9689C7A7-0C7F-47C6-AB86-2D84D75E0147}" dt="2022-11-01T23:47:06.437" v="3484"/>
          <ac:spMkLst>
            <pc:docMk/>
            <pc:sldMk cId="4265939711" sldId="2479"/>
            <ac:spMk id="181" creationId="{3F2EB38F-DAB9-C11A-9153-36579258F75F}"/>
          </ac:spMkLst>
        </pc:spChg>
        <pc:spChg chg="mod">
          <ac:chgData name="Aurelien Domont" userId="6da7715ce44349b3" providerId="LiveId" clId="{9689C7A7-0C7F-47C6-AB86-2D84D75E0147}" dt="2022-11-01T23:47:06.437" v="3484"/>
          <ac:spMkLst>
            <pc:docMk/>
            <pc:sldMk cId="4265939711" sldId="2479"/>
            <ac:spMk id="182" creationId="{3343EEBD-7C5E-7C8A-C956-1EFFC31F94D4}"/>
          </ac:spMkLst>
        </pc:spChg>
        <pc:spChg chg="mod">
          <ac:chgData name="Aurelien Domont" userId="6da7715ce44349b3" providerId="LiveId" clId="{9689C7A7-0C7F-47C6-AB86-2D84D75E0147}" dt="2022-11-01T23:47:06.437" v="3484"/>
          <ac:spMkLst>
            <pc:docMk/>
            <pc:sldMk cId="4265939711" sldId="2479"/>
            <ac:spMk id="183" creationId="{D8AFC28B-5E4A-E0F0-6679-EF3534A99D1B}"/>
          </ac:spMkLst>
        </pc:spChg>
        <pc:spChg chg="mod">
          <ac:chgData name="Aurelien Domont" userId="6da7715ce44349b3" providerId="LiveId" clId="{9689C7A7-0C7F-47C6-AB86-2D84D75E0147}" dt="2022-11-01T23:47:06.437" v="3484"/>
          <ac:spMkLst>
            <pc:docMk/>
            <pc:sldMk cId="4265939711" sldId="2479"/>
            <ac:spMk id="184" creationId="{9431D80B-5035-D1C0-38F7-447256BDFD2B}"/>
          </ac:spMkLst>
        </pc:spChg>
        <pc:spChg chg="mod">
          <ac:chgData name="Aurelien Domont" userId="6da7715ce44349b3" providerId="LiveId" clId="{9689C7A7-0C7F-47C6-AB86-2D84D75E0147}" dt="2022-11-01T23:47:06.437" v="3484"/>
          <ac:spMkLst>
            <pc:docMk/>
            <pc:sldMk cId="4265939711" sldId="2479"/>
            <ac:spMk id="185" creationId="{A7885FC8-9A96-2EF9-18E3-8890F191FE8A}"/>
          </ac:spMkLst>
        </pc:spChg>
        <pc:spChg chg="mod">
          <ac:chgData name="Aurelien Domont" userId="6da7715ce44349b3" providerId="LiveId" clId="{9689C7A7-0C7F-47C6-AB86-2D84D75E0147}" dt="2022-11-01T23:47:06.437" v="3484"/>
          <ac:spMkLst>
            <pc:docMk/>
            <pc:sldMk cId="4265939711" sldId="2479"/>
            <ac:spMk id="186" creationId="{128BA577-C30C-FCBA-102B-BD80CD8D266D}"/>
          </ac:spMkLst>
        </pc:spChg>
        <pc:spChg chg="mod">
          <ac:chgData name="Aurelien Domont" userId="6da7715ce44349b3" providerId="LiveId" clId="{9689C7A7-0C7F-47C6-AB86-2D84D75E0147}" dt="2022-11-01T23:47:06.437" v="3484"/>
          <ac:spMkLst>
            <pc:docMk/>
            <pc:sldMk cId="4265939711" sldId="2479"/>
            <ac:spMk id="187" creationId="{19556AD3-48DF-9B17-ADFD-D6C2A0CF7AA3}"/>
          </ac:spMkLst>
        </pc:spChg>
        <pc:spChg chg="mod">
          <ac:chgData name="Aurelien Domont" userId="6da7715ce44349b3" providerId="LiveId" clId="{9689C7A7-0C7F-47C6-AB86-2D84D75E0147}" dt="2022-11-01T23:47:06.437" v="3484"/>
          <ac:spMkLst>
            <pc:docMk/>
            <pc:sldMk cId="4265939711" sldId="2479"/>
            <ac:spMk id="188" creationId="{2AF736ED-AE50-42DF-245A-5292CF708270}"/>
          </ac:spMkLst>
        </pc:spChg>
        <pc:spChg chg="mod">
          <ac:chgData name="Aurelien Domont" userId="6da7715ce44349b3" providerId="LiveId" clId="{9689C7A7-0C7F-47C6-AB86-2D84D75E0147}" dt="2022-11-01T23:47:18.944" v="3485" actId="207"/>
          <ac:spMkLst>
            <pc:docMk/>
            <pc:sldMk cId="4265939711" sldId="2479"/>
            <ac:spMk id="190" creationId="{06400727-3217-6CA6-89C0-96FA02D9E2EF}"/>
          </ac:spMkLst>
        </pc:spChg>
        <pc:spChg chg="mod">
          <ac:chgData name="Aurelien Domont" userId="6da7715ce44349b3" providerId="LiveId" clId="{9689C7A7-0C7F-47C6-AB86-2D84D75E0147}" dt="2022-11-01T23:47:18.944" v="3485" actId="207"/>
          <ac:spMkLst>
            <pc:docMk/>
            <pc:sldMk cId="4265939711" sldId="2479"/>
            <ac:spMk id="191" creationId="{E6C0E389-521C-6E40-8B54-B3F699C27038}"/>
          </ac:spMkLst>
        </pc:spChg>
        <pc:spChg chg="mod">
          <ac:chgData name="Aurelien Domont" userId="6da7715ce44349b3" providerId="LiveId" clId="{9689C7A7-0C7F-47C6-AB86-2D84D75E0147}" dt="2022-11-01T23:47:18.944" v="3485" actId="207"/>
          <ac:spMkLst>
            <pc:docMk/>
            <pc:sldMk cId="4265939711" sldId="2479"/>
            <ac:spMk id="192" creationId="{7A4EA651-7955-6A77-1E32-E1520828734C}"/>
          </ac:spMkLst>
        </pc:spChg>
        <pc:spChg chg="mod">
          <ac:chgData name="Aurelien Domont" userId="6da7715ce44349b3" providerId="LiveId" clId="{9689C7A7-0C7F-47C6-AB86-2D84D75E0147}" dt="2022-11-01T23:47:18.944" v="3485" actId="207"/>
          <ac:spMkLst>
            <pc:docMk/>
            <pc:sldMk cId="4265939711" sldId="2479"/>
            <ac:spMk id="193" creationId="{51A0CC3D-BD79-F3A4-2C9E-6DDFEBA35C4E}"/>
          </ac:spMkLst>
        </pc:spChg>
        <pc:spChg chg="mod">
          <ac:chgData name="Aurelien Domont" userId="6da7715ce44349b3" providerId="LiveId" clId="{9689C7A7-0C7F-47C6-AB86-2D84D75E0147}" dt="2022-11-01T23:47:18.944" v="3485" actId="207"/>
          <ac:spMkLst>
            <pc:docMk/>
            <pc:sldMk cId="4265939711" sldId="2479"/>
            <ac:spMk id="194" creationId="{702C3A50-391E-0573-0A37-0F466CDA9810}"/>
          </ac:spMkLst>
        </pc:spChg>
        <pc:spChg chg="mod">
          <ac:chgData name="Aurelien Domont" userId="6da7715ce44349b3" providerId="LiveId" clId="{9689C7A7-0C7F-47C6-AB86-2D84D75E0147}" dt="2022-11-01T23:47:18.944" v="3485" actId="207"/>
          <ac:spMkLst>
            <pc:docMk/>
            <pc:sldMk cId="4265939711" sldId="2479"/>
            <ac:spMk id="195" creationId="{5787B204-2A34-AB0F-CB92-90D4D8606BE5}"/>
          </ac:spMkLst>
        </pc:spChg>
        <pc:spChg chg="mod">
          <ac:chgData name="Aurelien Domont" userId="6da7715ce44349b3" providerId="LiveId" clId="{9689C7A7-0C7F-47C6-AB86-2D84D75E0147}" dt="2022-11-01T23:47:18.944" v="3485" actId="207"/>
          <ac:spMkLst>
            <pc:docMk/>
            <pc:sldMk cId="4265939711" sldId="2479"/>
            <ac:spMk id="196" creationId="{2CF8423D-606A-91F4-A201-033FE0369BD3}"/>
          </ac:spMkLst>
        </pc:spChg>
        <pc:spChg chg="mod">
          <ac:chgData name="Aurelien Domont" userId="6da7715ce44349b3" providerId="LiveId" clId="{9689C7A7-0C7F-47C6-AB86-2D84D75E0147}" dt="2022-11-01T23:47:18.944" v="3485" actId="207"/>
          <ac:spMkLst>
            <pc:docMk/>
            <pc:sldMk cId="4265939711" sldId="2479"/>
            <ac:spMk id="197" creationId="{0AF9D3BB-FA66-60EB-9EB8-9B19FEA06222}"/>
          </ac:spMkLst>
        </pc:spChg>
        <pc:spChg chg="mod">
          <ac:chgData name="Aurelien Domont" userId="6da7715ce44349b3" providerId="LiveId" clId="{9689C7A7-0C7F-47C6-AB86-2D84D75E0147}" dt="2022-11-01T23:47:18.944" v="3485" actId="207"/>
          <ac:spMkLst>
            <pc:docMk/>
            <pc:sldMk cId="4265939711" sldId="2479"/>
            <ac:spMk id="198" creationId="{29CE1589-1248-2879-F4BD-99C98E1B8493}"/>
          </ac:spMkLst>
        </pc:spChg>
        <pc:spChg chg="mod">
          <ac:chgData name="Aurelien Domont" userId="6da7715ce44349b3" providerId="LiveId" clId="{9689C7A7-0C7F-47C6-AB86-2D84D75E0147}" dt="2022-11-01T23:47:18.944" v="3485" actId="207"/>
          <ac:spMkLst>
            <pc:docMk/>
            <pc:sldMk cId="4265939711" sldId="2479"/>
            <ac:spMk id="199" creationId="{530F8556-696F-B223-2F10-4157CFE9849F}"/>
          </ac:spMkLst>
        </pc:spChg>
        <pc:spChg chg="mod">
          <ac:chgData name="Aurelien Domont" userId="6da7715ce44349b3" providerId="LiveId" clId="{9689C7A7-0C7F-47C6-AB86-2D84D75E0147}" dt="2022-11-01T23:47:18.944" v="3485" actId="207"/>
          <ac:spMkLst>
            <pc:docMk/>
            <pc:sldMk cId="4265939711" sldId="2479"/>
            <ac:spMk id="200" creationId="{C347EE76-D7D6-3EAB-1F8F-7EBC93443B74}"/>
          </ac:spMkLst>
        </pc:spChg>
        <pc:spChg chg="mod">
          <ac:chgData name="Aurelien Domont" userId="6da7715ce44349b3" providerId="LiveId" clId="{9689C7A7-0C7F-47C6-AB86-2D84D75E0147}" dt="2022-11-01T23:47:06.437" v="3484"/>
          <ac:spMkLst>
            <pc:docMk/>
            <pc:sldMk cId="4265939711" sldId="2479"/>
            <ac:spMk id="201" creationId="{87E76DCF-1643-4381-CD68-9DCBA58EE886}"/>
          </ac:spMkLst>
        </pc:spChg>
        <pc:spChg chg="mod">
          <ac:chgData name="Aurelien Domont" userId="6da7715ce44349b3" providerId="LiveId" clId="{9689C7A7-0C7F-47C6-AB86-2D84D75E0147}" dt="2022-11-01T23:47:06.437" v="3484"/>
          <ac:spMkLst>
            <pc:docMk/>
            <pc:sldMk cId="4265939711" sldId="2479"/>
            <ac:spMk id="202" creationId="{73CBE7BA-9A70-B48B-9D99-6AEF3E9CFA8D}"/>
          </ac:spMkLst>
        </pc:spChg>
        <pc:spChg chg="mod">
          <ac:chgData name="Aurelien Domont" userId="6da7715ce44349b3" providerId="LiveId" clId="{9689C7A7-0C7F-47C6-AB86-2D84D75E0147}" dt="2022-11-01T23:47:06.437" v="3484"/>
          <ac:spMkLst>
            <pc:docMk/>
            <pc:sldMk cId="4265939711" sldId="2479"/>
            <ac:spMk id="203" creationId="{043D9F81-A3A9-8681-FF5E-018F102A8DEE}"/>
          </ac:spMkLst>
        </pc:spChg>
        <pc:spChg chg="mod">
          <ac:chgData name="Aurelien Domont" userId="6da7715ce44349b3" providerId="LiveId" clId="{9689C7A7-0C7F-47C6-AB86-2D84D75E0147}" dt="2022-11-01T23:47:06.437" v="3484"/>
          <ac:spMkLst>
            <pc:docMk/>
            <pc:sldMk cId="4265939711" sldId="2479"/>
            <ac:spMk id="204" creationId="{C3599B54-3C9D-DB44-0B0C-85D4A19283FB}"/>
          </ac:spMkLst>
        </pc:spChg>
        <pc:spChg chg="mod">
          <ac:chgData name="Aurelien Domont" userId="6da7715ce44349b3" providerId="LiveId" clId="{9689C7A7-0C7F-47C6-AB86-2D84D75E0147}" dt="2022-11-01T23:47:06.437" v="3484"/>
          <ac:spMkLst>
            <pc:docMk/>
            <pc:sldMk cId="4265939711" sldId="2479"/>
            <ac:spMk id="205" creationId="{FDF547A7-8762-1F28-B0FB-7300870109ED}"/>
          </ac:spMkLst>
        </pc:spChg>
        <pc:spChg chg="mod">
          <ac:chgData name="Aurelien Domont" userId="6da7715ce44349b3" providerId="LiveId" clId="{9689C7A7-0C7F-47C6-AB86-2D84D75E0147}" dt="2022-11-01T23:47:06.437" v="3484"/>
          <ac:spMkLst>
            <pc:docMk/>
            <pc:sldMk cId="4265939711" sldId="2479"/>
            <ac:spMk id="206" creationId="{54A64329-FD19-DA44-57C3-4A736E76D375}"/>
          </ac:spMkLst>
        </pc:spChg>
        <pc:spChg chg="mod">
          <ac:chgData name="Aurelien Domont" userId="6da7715ce44349b3" providerId="LiveId" clId="{9689C7A7-0C7F-47C6-AB86-2D84D75E0147}" dt="2022-11-01T23:47:06.437" v="3484"/>
          <ac:spMkLst>
            <pc:docMk/>
            <pc:sldMk cId="4265939711" sldId="2479"/>
            <ac:spMk id="207" creationId="{7C67BF32-2A44-D486-3F34-5C455A3FA50C}"/>
          </ac:spMkLst>
        </pc:spChg>
        <pc:spChg chg="mod">
          <ac:chgData name="Aurelien Domont" userId="6da7715ce44349b3" providerId="LiveId" clId="{9689C7A7-0C7F-47C6-AB86-2D84D75E0147}" dt="2022-11-01T23:47:06.437" v="3484"/>
          <ac:spMkLst>
            <pc:docMk/>
            <pc:sldMk cId="4265939711" sldId="2479"/>
            <ac:spMk id="208" creationId="{E6B7BDDD-F644-F192-3D01-2D486334B78C}"/>
          </ac:spMkLst>
        </pc:spChg>
        <pc:spChg chg="mod">
          <ac:chgData name="Aurelien Domont" userId="6da7715ce44349b3" providerId="LiveId" clId="{9689C7A7-0C7F-47C6-AB86-2D84D75E0147}" dt="2022-11-01T23:47:06.437" v="3484"/>
          <ac:spMkLst>
            <pc:docMk/>
            <pc:sldMk cId="4265939711" sldId="2479"/>
            <ac:spMk id="209" creationId="{0C7DE533-0386-ECE2-D7F3-9CEFD71DB266}"/>
          </ac:spMkLst>
        </pc:spChg>
        <pc:spChg chg="mod">
          <ac:chgData name="Aurelien Domont" userId="6da7715ce44349b3" providerId="LiveId" clId="{9689C7A7-0C7F-47C6-AB86-2D84D75E0147}" dt="2022-11-01T23:47:06.437" v="3484"/>
          <ac:spMkLst>
            <pc:docMk/>
            <pc:sldMk cId="4265939711" sldId="2479"/>
            <ac:spMk id="210" creationId="{D57F4767-ECA7-B08C-4A95-B385E67CAF32}"/>
          </ac:spMkLst>
        </pc:spChg>
        <pc:spChg chg="mod">
          <ac:chgData name="Aurelien Domont" userId="6da7715ce44349b3" providerId="LiveId" clId="{9689C7A7-0C7F-47C6-AB86-2D84D75E0147}" dt="2022-11-01T23:47:06.437" v="3484"/>
          <ac:spMkLst>
            <pc:docMk/>
            <pc:sldMk cId="4265939711" sldId="2479"/>
            <ac:spMk id="211" creationId="{62530865-88FD-B748-3F20-402D42BBA031}"/>
          </ac:spMkLst>
        </pc:spChg>
        <pc:spChg chg="mod">
          <ac:chgData name="Aurelien Domont" userId="6da7715ce44349b3" providerId="LiveId" clId="{9689C7A7-0C7F-47C6-AB86-2D84D75E0147}" dt="2022-11-01T23:47:06.437" v="3484"/>
          <ac:spMkLst>
            <pc:docMk/>
            <pc:sldMk cId="4265939711" sldId="2479"/>
            <ac:spMk id="212" creationId="{B32E7ACD-9F6D-5D5E-7EC2-84F239617AAD}"/>
          </ac:spMkLst>
        </pc:spChg>
        <pc:spChg chg="mod">
          <ac:chgData name="Aurelien Domont" userId="6da7715ce44349b3" providerId="LiveId" clId="{9689C7A7-0C7F-47C6-AB86-2D84D75E0147}" dt="2022-11-01T23:47:06.437" v="3484"/>
          <ac:spMkLst>
            <pc:docMk/>
            <pc:sldMk cId="4265939711" sldId="2479"/>
            <ac:spMk id="213" creationId="{0B467C59-8B29-188F-4D5C-9616E3EA78E3}"/>
          </ac:spMkLst>
        </pc:spChg>
        <pc:spChg chg="mod">
          <ac:chgData name="Aurelien Domont" userId="6da7715ce44349b3" providerId="LiveId" clId="{9689C7A7-0C7F-47C6-AB86-2D84D75E0147}" dt="2022-11-01T23:47:06.437" v="3484"/>
          <ac:spMkLst>
            <pc:docMk/>
            <pc:sldMk cId="4265939711" sldId="2479"/>
            <ac:spMk id="214" creationId="{E768FA60-F0AB-D6E1-45A1-941A92DAB091}"/>
          </ac:spMkLst>
        </pc:spChg>
        <pc:spChg chg="mod">
          <ac:chgData name="Aurelien Domont" userId="6da7715ce44349b3" providerId="LiveId" clId="{9689C7A7-0C7F-47C6-AB86-2D84D75E0147}" dt="2022-11-01T23:47:06.437" v="3484"/>
          <ac:spMkLst>
            <pc:docMk/>
            <pc:sldMk cId="4265939711" sldId="2479"/>
            <ac:spMk id="215" creationId="{A5EBEA96-0B5D-937C-458E-F241B8211AAE}"/>
          </ac:spMkLst>
        </pc:spChg>
        <pc:spChg chg="mod">
          <ac:chgData name="Aurelien Domont" userId="6da7715ce44349b3" providerId="LiveId" clId="{9689C7A7-0C7F-47C6-AB86-2D84D75E0147}" dt="2022-11-01T23:47:06.437" v="3484"/>
          <ac:spMkLst>
            <pc:docMk/>
            <pc:sldMk cId="4265939711" sldId="2479"/>
            <ac:spMk id="216" creationId="{3DA2052D-530B-3960-B89B-2FF6434464F1}"/>
          </ac:spMkLst>
        </pc:spChg>
        <pc:spChg chg="mod">
          <ac:chgData name="Aurelien Domont" userId="6da7715ce44349b3" providerId="LiveId" clId="{9689C7A7-0C7F-47C6-AB86-2D84D75E0147}" dt="2022-11-01T23:47:06.437" v="3484"/>
          <ac:spMkLst>
            <pc:docMk/>
            <pc:sldMk cId="4265939711" sldId="2479"/>
            <ac:spMk id="217" creationId="{A0A4D834-54A8-17B6-F082-C6CDF8AE2510}"/>
          </ac:spMkLst>
        </pc:spChg>
        <pc:spChg chg="mod">
          <ac:chgData name="Aurelien Domont" userId="6da7715ce44349b3" providerId="LiveId" clId="{9689C7A7-0C7F-47C6-AB86-2D84D75E0147}" dt="2022-11-01T23:47:06.437" v="3484"/>
          <ac:spMkLst>
            <pc:docMk/>
            <pc:sldMk cId="4265939711" sldId="2479"/>
            <ac:spMk id="218" creationId="{A1FFEA16-E3E2-B107-64B9-33BA2DE7CE8F}"/>
          </ac:spMkLst>
        </pc:spChg>
        <pc:spChg chg="mod">
          <ac:chgData name="Aurelien Domont" userId="6da7715ce44349b3" providerId="LiveId" clId="{9689C7A7-0C7F-47C6-AB86-2D84D75E0147}" dt="2022-11-01T23:47:06.437" v="3484"/>
          <ac:spMkLst>
            <pc:docMk/>
            <pc:sldMk cId="4265939711" sldId="2479"/>
            <ac:spMk id="219" creationId="{5A93BCE2-A0A6-7668-78DF-7A57C6E7CD59}"/>
          </ac:spMkLst>
        </pc:spChg>
        <pc:spChg chg="mod">
          <ac:chgData name="Aurelien Domont" userId="6da7715ce44349b3" providerId="LiveId" clId="{9689C7A7-0C7F-47C6-AB86-2D84D75E0147}" dt="2022-11-01T23:47:06.437" v="3484"/>
          <ac:spMkLst>
            <pc:docMk/>
            <pc:sldMk cId="4265939711" sldId="2479"/>
            <ac:spMk id="220" creationId="{B2A99514-E527-018A-17B0-C95069640480}"/>
          </ac:spMkLst>
        </pc:spChg>
        <pc:spChg chg="add mod">
          <ac:chgData name="Aurelien Domont" userId="6da7715ce44349b3" providerId="LiveId" clId="{9689C7A7-0C7F-47C6-AB86-2D84D75E0147}" dt="2022-11-01T23:47:06.437" v="3484"/>
          <ac:spMkLst>
            <pc:docMk/>
            <pc:sldMk cId="4265939711" sldId="2479"/>
            <ac:spMk id="221" creationId="{F0F9F848-16F6-A7EC-7844-854073FDBE4F}"/>
          </ac:spMkLst>
        </pc:spChg>
        <pc:grpChg chg="add mod">
          <ac:chgData name="Aurelien Domont" userId="6da7715ce44349b3" providerId="LiveId" clId="{9689C7A7-0C7F-47C6-AB86-2D84D75E0147}" dt="2022-11-01T23:47:06.437" v="3484"/>
          <ac:grpSpMkLst>
            <pc:docMk/>
            <pc:sldMk cId="4265939711" sldId="2479"/>
            <ac:grpSpMk id="24" creationId="{D8D81101-5372-772A-523A-1AE7ABB60137}"/>
          </ac:grpSpMkLst>
        </pc:grpChg>
        <pc:grpChg chg="mod">
          <ac:chgData name="Aurelien Domont" userId="6da7715ce44349b3" providerId="LiveId" clId="{9689C7A7-0C7F-47C6-AB86-2D84D75E0147}" dt="2022-11-01T23:47:06.437" v="3484"/>
          <ac:grpSpMkLst>
            <pc:docMk/>
            <pc:sldMk cId="4265939711" sldId="2479"/>
            <ac:grpSpMk id="46" creationId="{F362F52C-DF9D-2A77-D2B8-65AD33C209ED}"/>
          </ac:grpSpMkLst>
        </pc:grpChg>
        <pc:grpChg chg="mod">
          <ac:chgData name="Aurelien Domont" userId="6da7715ce44349b3" providerId="LiveId" clId="{9689C7A7-0C7F-47C6-AB86-2D84D75E0147}" dt="2022-11-01T23:47:06.437" v="3484"/>
          <ac:grpSpMkLst>
            <pc:docMk/>
            <pc:sldMk cId="4265939711" sldId="2479"/>
            <ac:grpSpMk id="130" creationId="{6D281EB9-78A3-8A32-5DB8-F16A61A6D32D}"/>
          </ac:grpSpMkLst>
        </pc:grpChg>
        <pc:grpChg chg="mod">
          <ac:chgData name="Aurelien Domont" userId="6da7715ce44349b3" providerId="LiveId" clId="{9689C7A7-0C7F-47C6-AB86-2D84D75E0147}" dt="2022-11-01T23:47:06.437" v="3484"/>
          <ac:grpSpMkLst>
            <pc:docMk/>
            <pc:sldMk cId="4265939711" sldId="2479"/>
            <ac:grpSpMk id="131" creationId="{8F938E26-3BDF-D0B3-71F4-496B2A6F3C5C}"/>
          </ac:grpSpMkLst>
        </pc:grpChg>
        <pc:grpChg chg="mod">
          <ac:chgData name="Aurelien Domont" userId="6da7715ce44349b3" providerId="LiveId" clId="{9689C7A7-0C7F-47C6-AB86-2D84D75E0147}" dt="2022-11-01T23:47:06.437" v="3484"/>
          <ac:grpSpMkLst>
            <pc:docMk/>
            <pc:sldMk cId="4265939711" sldId="2479"/>
            <ac:grpSpMk id="132" creationId="{B4240049-FAB3-9704-6A0E-83993AE72FC2}"/>
          </ac:grpSpMkLst>
        </pc:grpChg>
        <pc:grpChg chg="mod">
          <ac:chgData name="Aurelien Domont" userId="6da7715ce44349b3" providerId="LiveId" clId="{9689C7A7-0C7F-47C6-AB86-2D84D75E0147}" dt="2022-11-01T23:47:06.437" v="3484"/>
          <ac:grpSpMkLst>
            <pc:docMk/>
            <pc:sldMk cId="4265939711" sldId="2479"/>
            <ac:grpSpMk id="133" creationId="{C453344D-5A70-230E-D6A8-2EE2A6940C8C}"/>
          </ac:grpSpMkLst>
        </pc:grpChg>
        <pc:grpChg chg="mod">
          <ac:chgData name="Aurelien Domont" userId="6da7715ce44349b3" providerId="LiveId" clId="{9689C7A7-0C7F-47C6-AB86-2D84D75E0147}" dt="2022-11-01T23:47:06.437" v="3484"/>
          <ac:grpSpMkLst>
            <pc:docMk/>
            <pc:sldMk cId="4265939711" sldId="2479"/>
            <ac:grpSpMk id="134" creationId="{07C02F8B-F38A-AB7A-D206-52B13E4640AA}"/>
          </ac:grpSpMkLst>
        </pc:grpChg>
        <pc:grpChg chg="mod">
          <ac:chgData name="Aurelien Domont" userId="6da7715ce44349b3" providerId="LiveId" clId="{9689C7A7-0C7F-47C6-AB86-2D84D75E0147}" dt="2022-11-01T23:47:06.437" v="3484"/>
          <ac:grpSpMkLst>
            <pc:docMk/>
            <pc:sldMk cId="4265939711" sldId="2479"/>
            <ac:grpSpMk id="135" creationId="{8B368D23-9575-8371-6CAE-AD85B43CFAB0}"/>
          </ac:grpSpMkLst>
        </pc:grpChg>
        <pc:grpChg chg="mod">
          <ac:chgData name="Aurelien Domont" userId="6da7715ce44349b3" providerId="LiveId" clId="{9689C7A7-0C7F-47C6-AB86-2D84D75E0147}" dt="2022-11-01T23:47:06.437" v="3484"/>
          <ac:grpSpMkLst>
            <pc:docMk/>
            <pc:sldMk cId="4265939711" sldId="2479"/>
            <ac:grpSpMk id="136" creationId="{1A2ADBA7-062E-55A4-F5FC-2B14A3C0ACFF}"/>
          </ac:grpSpMkLst>
        </pc:grpChg>
        <pc:grpChg chg="mod">
          <ac:chgData name="Aurelien Domont" userId="6da7715ce44349b3" providerId="LiveId" clId="{9689C7A7-0C7F-47C6-AB86-2D84D75E0147}" dt="2022-11-01T23:47:06.437" v="3484"/>
          <ac:grpSpMkLst>
            <pc:docMk/>
            <pc:sldMk cId="4265939711" sldId="2479"/>
            <ac:grpSpMk id="137" creationId="{489C2CC2-6A06-D43F-E82B-6D1F4F104696}"/>
          </ac:grpSpMkLst>
        </pc:grpChg>
        <pc:grpChg chg="mod">
          <ac:chgData name="Aurelien Domont" userId="6da7715ce44349b3" providerId="LiveId" clId="{9689C7A7-0C7F-47C6-AB86-2D84D75E0147}" dt="2022-11-01T23:47:06.437" v="3484"/>
          <ac:grpSpMkLst>
            <pc:docMk/>
            <pc:sldMk cId="4265939711" sldId="2479"/>
            <ac:grpSpMk id="189" creationId="{E752A62C-A6A3-2F5E-D227-EB56823EC6AD}"/>
          </ac:grpSpMkLst>
        </pc:grpChg>
        <pc:graphicFrameChg chg="del">
          <ac:chgData name="Aurelien Domont" userId="6da7715ce44349b3" providerId="LiveId" clId="{9689C7A7-0C7F-47C6-AB86-2D84D75E0147}" dt="2022-11-01T23:45:35.908" v="3459" actId="478"/>
          <ac:graphicFrameMkLst>
            <pc:docMk/>
            <pc:sldMk cId="4265939711" sldId="2479"/>
            <ac:graphicFrameMk id="12" creationId="{C4FB94D5-9A0B-485F-BDA1-764C16AA774A}"/>
          </ac:graphicFrameMkLst>
        </pc:graphicFrameChg>
        <pc:graphicFrameChg chg="mod">
          <ac:chgData name="Aurelien Domont" userId="6da7715ce44349b3" providerId="LiveId" clId="{9689C7A7-0C7F-47C6-AB86-2D84D75E0147}" dt="2022-11-01T23:47:06.437" v="3484"/>
          <ac:graphicFrameMkLst>
            <pc:docMk/>
            <pc:sldMk cId="4265939711" sldId="2479"/>
            <ac:graphicFrameMk id="47" creationId="{F451CA4E-BD7C-9D17-F086-C5D0BACE3966}"/>
          </ac:graphicFrameMkLst>
        </pc:graphicFrameChg>
        <pc:cxnChg chg="mod">
          <ac:chgData name="Aurelien Domont" userId="6da7715ce44349b3" providerId="LiveId" clId="{9689C7A7-0C7F-47C6-AB86-2D84D75E0147}" dt="2022-11-01T23:47:06.437" v="3484"/>
          <ac:cxnSpMkLst>
            <pc:docMk/>
            <pc:sldMk cId="4265939711" sldId="2479"/>
            <ac:cxnSpMk id="37" creationId="{CF25BA54-D222-C566-C919-DD1B3EA504F0}"/>
          </ac:cxnSpMkLst>
        </pc:cxnChg>
        <pc:cxnChg chg="mod">
          <ac:chgData name="Aurelien Domont" userId="6da7715ce44349b3" providerId="LiveId" clId="{9689C7A7-0C7F-47C6-AB86-2D84D75E0147}" dt="2022-11-01T23:47:06.437" v="3484"/>
          <ac:cxnSpMkLst>
            <pc:docMk/>
            <pc:sldMk cId="4265939711" sldId="2479"/>
            <ac:cxnSpMk id="38" creationId="{B76827DB-A56C-2D60-23BF-244725BCDBDC}"/>
          </ac:cxnSpMkLst>
        </pc:cxnChg>
        <pc:cxnChg chg="mod">
          <ac:chgData name="Aurelien Domont" userId="6da7715ce44349b3" providerId="LiveId" clId="{9689C7A7-0C7F-47C6-AB86-2D84D75E0147}" dt="2022-11-01T23:47:06.437" v="3484"/>
          <ac:cxnSpMkLst>
            <pc:docMk/>
            <pc:sldMk cId="4265939711" sldId="2479"/>
            <ac:cxnSpMk id="39" creationId="{9751B445-EAA6-8CBF-494F-CC671B32A5AE}"/>
          </ac:cxnSpMkLst>
        </pc:cxnChg>
        <pc:cxnChg chg="mod">
          <ac:chgData name="Aurelien Domont" userId="6da7715ce44349b3" providerId="LiveId" clId="{9689C7A7-0C7F-47C6-AB86-2D84D75E0147}" dt="2022-11-01T23:47:06.437" v="3484"/>
          <ac:cxnSpMkLst>
            <pc:docMk/>
            <pc:sldMk cId="4265939711" sldId="2479"/>
            <ac:cxnSpMk id="40" creationId="{70F2EDD2-29E5-1710-0284-79A1252D5374}"/>
          </ac:cxnSpMkLst>
        </pc:cxnChg>
        <pc:cxnChg chg="mod">
          <ac:chgData name="Aurelien Domont" userId="6da7715ce44349b3" providerId="LiveId" clId="{9689C7A7-0C7F-47C6-AB86-2D84D75E0147}" dt="2022-11-01T23:47:06.437" v="3484"/>
          <ac:cxnSpMkLst>
            <pc:docMk/>
            <pc:sldMk cId="4265939711" sldId="2479"/>
            <ac:cxnSpMk id="41" creationId="{A807D932-431C-97B3-414E-A0EAA2648795}"/>
          </ac:cxnSpMkLst>
        </pc:cxnChg>
        <pc:cxnChg chg="mod">
          <ac:chgData name="Aurelien Domont" userId="6da7715ce44349b3" providerId="LiveId" clId="{9689C7A7-0C7F-47C6-AB86-2D84D75E0147}" dt="2022-11-01T23:47:06.437" v="3484"/>
          <ac:cxnSpMkLst>
            <pc:docMk/>
            <pc:sldMk cId="4265939711" sldId="2479"/>
            <ac:cxnSpMk id="42" creationId="{FBCAF870-92B8-4484-5129-7D644606215E}"/>
          </ac:cxnSpMkLst>
        </pc:cxnChg>
        <pc:cxnChg chg="mod">
          <ac:chgData name="Aurelien Domont" userId="6da7715ce44349b3" providerId="LiveId" clId="{9689C7A7-0C7F-47C6-AB86-2D84D75E0147}" dt="2022-11-01T23:47:06.437" v="3484"/>
          <ac:cxnSpMkLst>
            <pc:docMk/>
            <pc:sldMk cId="4265939711" sldId="2479"/>
            <ac:cxnSpMk id="43" creationId="{D74B9CAD-4663-DCCC-3629-0D379DF79694}"/>
          </ac:cxnSpMkLst>
        </pc:cxnChg>
        <pc:cxnChg chg="mod">
          <ac:chgData name="Aurelien Domont" userId="6da7715ce44349b3" providerId="LiveId" clId="{9689C7A7-0C7F-47C6-AB86-2D84D75E0147}" dt="2022-11-01T23:47:06.437" v="3484"/>
          <ac:cxnSpMkLst>
            <pc:docMk/>
            <pc:sldMk cId="4265939711" sldId="2479"/>
            <ac:cxnSpMk id="44" creationId="{B6EA234A-17EB-EF0B-C3E5-A9FC2DF1EAEC}"/>
          </ac:cxnSpMkLst>
        </pc:cxnChg>
        <pc:cxnChg chg="mod">
          <ac:chgData name="Aurelien Domont" userId="6da7715ce44349b3" providerId="LiveId" clId="{9689C7A7-0C7F-47C6-AB86-2D84D75E0147}" dt="2022-11-01T23:47:06.437" v="3484"/>
          <ac:cxnSpMkLst>
            <pc:docMk/>
            <pc:sldMk cId="4265939711" sldId="2479"/>
            <ac:cxnSpMk id="45" creationId="{D4947E68-6E14-915E-43AC-16119656D794}"/>
          </ac:cxnSpMkLst>
        </pc:cxnChg>
        <pc:cxnChg chg="mod">
          <ac:chgData name="Aurelien Domont" userId="6da7715ce44349b3" providerId="LiveId" clId="{9689C7A7-0C7F-47C6-AB86-2D84D75E0147}" dt="2022-11-01T23:47:06.437" v="3484"/>
          <ac:cxnSpMkLst>
            <pc:docMk/>
            <pc:sldMk cId="4265939711" sldId="2479"/>
            <ac:cxnSpMk id="178" creationId="{970FAFED-FF47-48DD-7F73-8D5D6FF1FF9A}"/>
          </ac:cxnSpMkLst>
        </pc:cxnChg>
      </pc:sldChg>
      <pc:sldChg chg="modSp add mod">
        <pc:chgData name="Aurelien Domont" userId="6da7715ce44349b3" providerId="LiveId" clId="{9689C7A7-0C7F-47C6-AB86-2D84D75E0147}" dt="2022-11-01T23:50:29.061" v="3528" actId="1035"/>
        <pc:sldMkLst>
          <pc:docMk/>
          <pc:sldMk cId="966984585" sldId="2480"/>
        </pc:sldMkLst>
        <pc:spChg chg="mod">
          <ac:chgData name="Aurelien Domont" userId="6da7715ce44349b3" providerId="LiveId" clId="{9689C7A7-0C7F-47C6-AB86-2D84D75E0147}" dt="2022-11-01T23:50:29.061" v="3528" actId="1035"/>
          <ac:spMkLst>
            <pc:docMk/>
            <pc:sldMk cId="966984585" sldId="2480"/>
            <ac:spMk id="2" creationId="{547CB403-88D0-99AE-C93F-28EEFD77F877}"/>
          </ac:spMkLst>
        </pc:spChg>
      </pc:sldChg>
      <pc:sldChg chg="modSp add mod">
        <pc:chgData name="Aurelien Domont" userId="6da7715ce44349b3" providerId="LiveId" clId="{9689C7A7-0C7F-47C6-AB86-2D84D75E0147}" dt="2022-11-01T23:50:36.015" v="3542" actId="1035"/>
        <pc:sldMkLst>
          <pc:docMk/>
          <pc:sldMk cId="1983022639" sldId="2481"/>
        </pc:sldMkLst>
        <pc:spChg chg="mod">
          <ac:chgData name="Aurelien Domont" userId="6da7715ce44349b3" providerId="LiveId" clId="{9689C7A7-0C7F-47C6-AB86-2D84D75E0147}" dt="2022-11-01T23:50:36.015" v="3542" actId="1035"/>
          <ac:spMkLst>
            <pc:docMk/>
            <pc:sldMk cId="1983022639" sldId="2481"/>
            <ac:spMk id="2" creationId="{547CB403-88D0-99AE-C93F-28EEFD77F877}"/>
          </ac:spMkLst>
        </pc:spChg>
      </pc:sldChg>
      <pc:sldChg chg="addSp delSp modSp add mod">
        <pc:chgData name="Aurelien Domont" userId="6da7715ce44349b3" providerId="LiveId" clId="{9689C7A7-0C7F-47C6-AB86-2D84D75E0147}" dt="2022-11-02T00:15:20.047" v="3631" actId="20577"/>
        <pc:sldMkLst>
          <pc:docMk/>
          <pc:sldMk cId="1580962293" sldId="2482"/>
        </pc:sldMkLst>
        <pc:spChg chg="mod">
          <ac:chgData name="Aurelien Domont" userId="6da7715ce44349b3" providerId="LiveId" clId="{9689C7A7-0C7F-47C6-AB86-2D84D75E0147}" dt="2022-11-02T00:15:20.047" v="3631" actId="20577"/>
          <ac:spMkLst>
            <pc:docMk/>
            <pc:sldMk cId="1580962293" sldId="2482"/>
            <ac:spMk id="14" creationId="{C9800183-F524-4412-AB39-A6E1A21FF0B3}"/>
          </ac:spMkLst>
        </pc:spChg>
        <pc:graphicFrameChg chg="add mod">
          <ac:chgData name="Aurelien Domont" userId="6da7715ce44349b3" providerId="LiveId" clId="{9689C7A7-0C7F-47C6-AB86-2D84D75E0147}" dt="2022-11-02T00:14:14.568" v="3599"/>
          <ac:graphicFrameMkLst>
            <pc:docMk/>
            <pc:sldMk cId="1580962293" sldId="2482"/>
            <ac:graphicFrameMk id="7" creationId="{43612196-0FAB-38CE-20D2-79402E89C9E8}"/>
          </ac:graphicFrameMkLst>
        </pc:graphicFrameChg>
        <pc:picChg chg="del">
          <ac:chgData name="Aurelien Domont" userId="6da7715ce44349b3" providerId="LiveId" clId="{9689C7A7-0C7F-47C6-AB86-2D84D75E0147}" dt="2022-11-02T00:11:34.537" v="3582" actId="478"/>
          <ac:picMkLst>
            <pc:docMk/>
            <pc:sldMk cId="1580962293" sldId="2482"/>
            <ac:picMk id="3" creationId="{26FEC574-DB8D-8DFA-ED21-C4C8C5187C39}"/>
          </ac:picMkLst>
        </pc:picChg>
        <pc:picChg chg="add del mod">
          <ac:chgData name="Aurelien Domont" userId="6da7715ce44349b3" providerId="LiveId" clId="{9689C7A7-0C7F-47C6-AB86-2D84D75E0147}" dt="2022-11-02T00:13:39.673" v="3590" actId="478"/>
          <ac:picMkLst>
            <pc:docMk/>
            <pc:sldMk cId="1580962293" sldId="2482"/>
            <ac:picMk id="4" creationId="{F66A1BDD-44FE-FC23-0484-26773062ADFA}"/>
          </ac:picMkLst>
        </pc:picChg>
        <pc:picChg chg="add del mod">
          <ac:chgData name="Aurelien Domont" userId="6da7715ce44349b3" providerId="LiveId" clId="{9689C7A7-0C7F-47C6-AB86-2D84D75E0147}" dt="2022-11-02T00:12:34.883" v="3589" actId="478"/>
          <ac:picMkLst>
            <pc:docMk/>
            <pc:sldMk cId="1580962293" sldId="2482"/>
            <ac:picMk id="5" creationId="{36F0372D-0C35-D0CB-28EB-B54DD7B6E54D}"/>
          </ac:picMkLst>
        </pc:picChg>
        <pc:picChg chg="add mod">
          <ac:chgData name="Aurelien Domont" userId="6da7715ce44349b3" providerId="LiveId" clId="{9689C7A7-0C7F-47C6-AB86-2D84D75E0147}" dt="2022-11-02T00:13:59.752" v="3597" actId="14100"/>
          <ac:picMkLst>
            <pc:docMk/>
            <pc:sldMk cId="1580962293" sldId="2482"/>
            <ac:picMk id="6" creationId="{F6CB0F13-AF42-5C98-6052-36FE40C8B1DC}"/>
          </ac:picMkLst>
        </pc:picChg>
        <pc:picChg chg="add del mod">
          <ac:chgData name="Aurelien Domont" userId="6da7715ce44349b3" providerId="LiveId" clId="{9689C7A7-0C7F-47C6-AB86-2D84D75E0147}" dt="2022-11-02T00:14:21.298" v="3603" actId="478"/>
          <ac:picMkLst>
            <pc:docMk/>
            <pc:sldMk cId="1580962293" sldId="2482"/>
            <ac:picMk id="8" creationId="{0F3D7CE9-7503-EE23-CB8A-A86A743083E5}"/>
          </ac:picMkLst>
        </pc:picChg>
      </pc:sldChg>
      <pc:sldChg chg="addSp delSp modSp add mod">
        <pc:chgData name="Aurelien Domont" userId="6da7715ce44349b3" providerId="LiveId" clId="{9689C7A7-0C7F-47C6-AB86-2D84D75E0147}" dt="2022-11-02T00:15:16.171" v="3623" actId="20577"/>
        <pc:sldMkLst>
          <pc:docMk/>
          <pc:sldMk cId="2257549913" sldId="2483"/>
        </pc:sldMkLst>
        <pc:spChg chg="add mod">
          <ac:chgData name="Aurelien Domont" userId="6da7715ce44349b3" providerId="LiveId" clId="{9689C7A7-0C7F-47C6-AB86-2D84D75E0147}" dt="2022-11-02T00:14:37.347" v="3607"/>
          <ac:spMkLst>
            <pc:docMk/>
            <pc:sldMk cId="2257549913" sldId="2483"/>
            <ac:spMk id="3" creationId="{F6E32D25-9129-9308-6A41-3EB943C003C3}"/>
          </ac:spMkLst>
        </pc:spChg>
        <pc:spChg chg="mod">
          <ac:chgData name="Aurelien Domont" userId="6da7715ce44349b3" providerId="LiveId" clId="{9689C7A7-0C7F-47C6-AB86-2D84D75E0147}" dt="2022-11-02T00:15:16.171" v="3623" actId="20577"/>
          <ac:spMkLst>
            <pc:docMk/>
            <pc:sldMk cId="2257549913" sldId="2483"/>
            <ac:spMk id="14" creationId="{C9800183-F524-4412-AB39-A6E1A21FF0B3}"/>
          </ac:spMkLst>
        </pc:spChg>
        <pc:picChg chg="add mod">
          <ac:chgData name="Aurelien Domont" userId="6da7715ce44349b3" providerId="LiveId" clId="{9689C7A7-0C7F-47C6-AB86-2D84D75E0147}" dt="2022-11-02T00:15:04.423" v="3615" actId="1076"/>
          <ac:picMkLst>
            <pc:docMk/>
            <pc:sldMk cId="2257549913" sldId="2483"/>
            <ac:picMk id="4" creationId="{C468167D-2C74-9AEF-6B3C-F52EEFAD38CD}"/>
          </ac:picMkLst>
        </pc:picChg>
        <pc:picChg chg="del">
          <ac:chgData name="Aurelien Domont" userId="6da7715ce44349b3" providerId="LiveId" clId="{9689C7A7-0C7F-47C6-AB86-2D84D75E0147}" dt="2022-11-02T00:14:39.499" v="3608" actId="478"/>
          <ac:picMkLst>
            <pc:docMk/>
            <pc:sldMk cId="2257549913" sldId="2483"/>
            <ac:picMk id="6" creationId="{F6CB0F13-AF42-5C98-6052-36FE40C8B1DC}"/>
          </ac:picMkLst>
        </pc:picChg>
      </pc:sldChg>
      <pc:sldChg chg="add del">
        <pc:chgData name="Aurelien Domont" userId="6da7715ce44349b3" providerId="LiveId" clId="{9689C7A7-0C7F-47C6-AB86-2D84D75E0147}" dt="2022-11-02T00:14:31.261" v="3606" actId="2696"/>
        <pc:sldMkLst>
          <pc:docMk/>
          <pc:sldMk cId="1422196748" sldId="2484"/>
        </pc:sldMkLst>
      </pc:sldChg>
      <pc:sldChg chg="addSp delSp modSp add mod">
        <pc:chgData name="Aurelien Domont" userId="6da7715ce44349b3" providerId="LiveId" clId="{9689C7A7-0C7F-47C6-AB86-2D84D75E0147}" dt="2022-11-02T01:45:52.610" v="3647" actId="1035"/>
        <pc:sldMkLst>
          <pc:docMk/>
          <pc:sldMk cId="1422224889" sldId="2484"/>
        </pc:sldMkLst>
        <pc:spChg chg="mod">
          <ac:chgData name="Aurelien Domont" userId="6da7715ce44349b3" providerId="LiveId" clId="{9689C7A7-0C7F-47C6-AB86-2D84D75E0147}" dt="2022-11-02T01:45:09.753" v="3637" actId="20577"/>
          <ac:spMkLst>
            <pc:docMk/>
            <pc:sldMk cId="1422224889" sldId="2484"/>
            <ac:spMk id="14" creationId="{C9800183-F524-4412-AB39-A6E1A21FF0B3}"/>
          </ac:spMkLst>
        </pc:spChg>
        <pc:picChg chg="add mod">
          <ac:chgData name="Aurelien Domont" userId="6da7715ce44349b3" providerId="LiveId" clId="{9689C7A7-0C7F-47C6-AB86-2D84D75E0147}" dt="2022-11-02T01:45:52.610" v="3647" actId="1035"/>
          <ac:picMkLst>
            <pc:docMk/>
            <pc:sldMk cId="1422224889" sldId="2484"/>
            <ac:picMk id="3" creationId="{39C5F102-E01F-3E4D-FADD-AAC1ED1B372C}"/>
          </ac:picMkLst>
        </pc:picChg>
        <pc:picChg chg="del">
          <ac:chgData name="Aurelien Domont" userId="6da7715ce44349b3" providerId="LiveId" clId="{9689C7A7-0C7F-47C6-AB86-2D84D75E0147}" dt="2022-11-02T01:45:11.627" v="3638" actId="478"/>
          <ac:picMkLst>
            <pc:docMk/>
            <pc:sldMk cId="1422224889" sldId="2484"/>
            <ac:picMk id="4" creationId="{929427DD-E397-2CA0-2910-E2AC616137FB}"/>
          </ac:picMkLst>
        </pc:picChg>
      </pc:sldChg>
      <pc:sldChg chg="addSp delSp modSp add mod">
        <pc:chgData name="Aurelien Domont" userId="6da7715ce44349b3" providerId="LiveId" clId="{9689C7A7-0C7F-47C6-AB86-2D84D75E0147}" dt="2022-11-02T01:46:34.960" v="3655" actId="108"/>
        <pc:sldMkLst>
          <pc:docMk/>
          <pc:sldMk cId="3264334355" sldId="2485"/>
        </pc:sldMkLst>
        <pc:spChg chg="mod">
          <ac:chgData name="Aurelien Domont" userId="6da7715ce44349b3" providerId="LiveId" clId="{9689C7A7-0C7F-47C6-AB86-2D84D75E0147}" dt="2022-11-02T01:46:04.783" v="3648"/>
          <ac:spMkLst>
            <pc:docMk/>
            <pc:sldMk cId="3264334355" sldId="2485"/>
            <ac:spMk id="14" creationId="{C9800183-F524-4412-AB39-A6E1A21FF0B3}"/>
          </ac:spMkLst>
        </pc:spChg>
        <pc:picChg chg="del">
          <ac:chgData name="Aurelien Domont" userId="6da7715ce44349b3" providerId="LiveId" clId="{9689C7A7-0C7F-47C6-AB86-2D84D75E0147}" dt="2022-11-02T01:46:06.505" v="3649" actId="478"/>
          <ac:picMkLst>
            <pc:docMk/>
            <pc:sldMk cId="3264334355" sldId="2485"/>
            <ac:picMk id="3" creationId="{94EF367A-E465-4267-5117-2D6C1191392F}"/>
          </ac:picMkLst>
        </pc:picChg>
        <pc:picChg chg="add mod">
          <ac:chgData name="Aurelien Domont" userId="6da7715ce44349b3" providerId="LiveId" clId="{9689C7A7-0C7F-47C6-AB86-2D84D75E0147}" dt="2022-11-02T01:46:34.960" v="3655" actId="108"/>
          <ac:picMkLst>
            <pc:docMk/>
            <pc:sldMk cId="3264334355" sldId="2485"/>
            <ac:picMk id="4" creationId="{E9DE0522-DF72-1A15-1AB4-5458257613BD}"/>
          </ac:picMkLst>
        </pc:picChg>
      </pc:sldChg>
      <pc:sldChg chg="addSp delSp modSp add mod">
        <pc:chgData name="Aurelien Domont" userId="6da7715ce44349b3" providerId="LiveId" clId="{9689C7A7-0C7F-47C6-AB86-2D84D75E0147}" dt="2022-11-02T01:47:54.078" v="3678" actId="20577"/>
        <pc:sldMkLst>
          <pc:docMk/>
          <pc:sldMk cId="2701736058" sldId="2486"/>
        </pc:sldMkLst>
        <pc:spChg chg="del">
          <ac:chgData name="Aurelien Domont" userId="6da7715ce44349b3" providerId="LiveId" clId="{9689C7A7-0C7F-47C6-AB86-2D84D75E0147}" dt="2022-11-02T01:47:50.420" v="3670" actId="478"/>
          <ac:spMkLst>
            <pc:docMk/>
            <pc:sldMk cId="2701736058" sldId="2486"/>
            <ac:spMk id="4" creationId="{341FD4B3-C389-56A7-DADA-1A5DCED19D97}"/>
          </ac:spMkLst>
        </pc:spChg>
        <pc:spChg chg="del">
          <ac:chgData name="Aurelien Domont" userId="6da7715ce44349b3" providerId="LiveId" clId="{9689C7A7-0C7F-47C6-AB86-2D84D75E0147}" dt="2022-11-02T01:46:57.425" v="3658" actId="478"/>
          <ac:spMkLst>
            <pc:docMk/>
            <pc:sldMk cId="2701736058" sldId="2486"/>
            <ac:spMk id="5" creationId="{A76B6D72-6B4C-C55E-9FD6-8E7E8134B5BA}"/>
          </ac:spMkLst>
        </pc:spChg>
        <pc:spChg chg="mod">
          <ac:chgData name="Aurelien Domont" userId="6da7715ce44349b3" providerId="LiveId" clId="{9689C7A7-0C7F-47C6-AB86-2D84D75E0147}" dt="2022-11-02T01:47:54.078" v="3678" actId="20577"/>
          <ac:spMkLst>
            <pc:docMk/>
            <pc:sldMk cId="2701736058" sldId="2486"/>
            <ac:spMk id="14" creationId="{C9800183-F524-4412-AB39-A6E1A21FF0B3}"/>
          </ac:spMkLst>
        </pc:spChg>
        <pc:picChg chg="del">
          <ac:chgData name="Aurelien Domont" userId="6da7715ce44349b3" providerId="LiveId" clId="{9689C7A7-0C7F-47C6-AB86-2D84D75E0147}" dt="2022-11-02T01:46:56.350" v="3657" actId="478"/>
          <ac:picMkLst>
            <pc:docMk/>
            <pc:sldMk cId="2701736058" sldId="2486"/>
            <ac:picMk id="3" creationId="{94EF367A-E465-4267-5117-2D6C1191392F}"/>
          </ac:picMkLst>
        </pc:picChg>
        <pc:picChg chg="add mod">
          <ac:chgData name="Aurelien Domont" userId="6da7715ce44349b3" providerId="LiveId" clId="{9689C7A7-0C7F-47C6-AB86-2D84D75E0147}" dt="2022-11-02T01:47:46.479" v="3669" actId="207"/>
          <ac:picMkLst>
            <pc:docMk/>
            <pc:sldMk cId="2701736058" sldId="2486"/>
            <ac:picMk id="6" creationId="{3122DB87-4417-FF3E-6192-8653AA8F3827}"/>
          </ac:picMkLst>
        </pc:picChg>
      </pc:sldChg>
      <pc:sldChg chg="add del">
        <pc:chgData name="Aurelien Domont" userId="6da7715ce44349b3" providerId="LiveId" clId="{9689C7A7-0C7F-47C6-AB86-2D84D75E0147}" dt="2022-11-02T01:48:01.152" v="3680" actId="47"/>
        <pc:sldMkLst>
          <pc:docMk/>
          <pc:sldMk cId="2344089192" sldId="2487"/>
        </pc:sldMkLst>
      </pc:sldChg>
      <pc:sldChg chg="addSp delSp modSp add mod">
        <pc:chgData name="Aurelien Domont" userId="6da7715ce44349b3" providerId="LiveId" clId="{9689C7A7-0C7F-47C6-AB86-2D84D75E0147}" dt="2022-11-02T01:53:22.738" v="3691" actId="478"/>
        <pc:sldMkLst>
          <pc:docMk/>
          <pc:sldMk cId="1091650488" sldId="2488"/>
        </pc:sldMkLst>
        <pc:spChg chg="add mod">
          <ac:chgData name="Aurelien Domont" userId="6da7715ce44349b3" providerId="LiveId" clId="{9689C7A7-0C7F-47C6-AB86-2D84D75E0147}" dt="2022-11-02T01:48:02.776" v="3681"/>
          <ac:spMkLst>
            <pc:docMk/>
            <pc:sldMk cId="1091650488" sldId="2488"/>
            <ac:spMk id="3" creationId="{CE2C00FD-2034-9CA1-5D9A-3DEB37FC8E1E}"/>
          </ac:spMkLst>
        </pc:spChg>
        <pc:picChg chg="add mod">
          <ac:chgData name="Aurelien Domont" userId="6da7715ce44349b3" providerId="LiveId" clId="{9689C7A7-0C7F-47C6-AB86-2D84D75E0147}" dt="2022-11-02T01:48:28.704" v="3688" actId="1076"/>
          <ac:picMkLst>
            <pc:docMk/>
            <pc:sldMk cId="1091650488" sldId="2488"/>
            <ac:picMk id="4" creationId="{9F29AFC2-AF2F-F8D1-CD80-ABF0C3CC3F01}"/>
          </ac:picMkLst>
        </pc:picChg>
        <pc:picChg chg="add del mod">
          <ac:chgData name="Aurelien Domont" userId="6da7715ce44349b3" providerId="LiveId" clId="{9689C7A7-0C7F-47C6-AB86-2D84D75E0147}" dt="2022-11-02T01:53:22.738" v="3691" actId="478"/>
          <ac:picMkLst>
            <pc:docMk/>
            <pc:sldMk cId="1091650488" sldId="2488"/>
            <ac:picMk id="5" creationId="{4F1CF4DF-A7A6-0966-F8CD-E5DA3CF57C16}"/>
          </ac:picMkLst>
        </pc:picChg>
        <pc:picChg chg="del">
          <ac:chgData name="Aurelien Domont" userId="6da7715ce44349b3" providerId="LiveId" clId="{9689C7A7-0C7F-47C6-AB86-2D84D75E0147}" dt="2022-11-02T01:48:03.915" v="3682" actId="478"/>
          <ac:picMkLst>
            <pc:docMk/>
            <pc:sldMk cId="1091650488" sldId="2488"/>
            <ac:picMk id="6" creationId="{3122DB87-4417-FF3E-6192-8653AA8F3827}"/>
          </ac:picMkLst>
        </pc:picChg>
      </pc:sldChg>
      <pc:sldChg chg="addSp delSp modSp add mod">
        <pc:chgData name="Aurelien Domont" userId="6da7715ce44349b3" providerId="LiveId" clId="{9689C7A7-0C7F-47C6-AB86-2D84D75E0147}" dt="2022-11-02T01:54:01.557" v="3713" actId="1076"/>
        <pc:sldMkLst>
          <pc:docMk/>
          <pc:sldMk cId="1506518980" sldId="2489"/>
        </pc:sldMkLst>
        <pc:spChg chg="mod">
          <ac:chgData name="Aurelien Domont" userId="6da7715ce44349b3" providerId="LiveId" clId="{9689C7A7-0C7F-47C6-AB86-2D84D75E0147}" dt="2022-11-02T01:53:38.052" v="3706" actId="20577"/>
          <ac:spMkLst>
            <pc:docMk/>
            <pc:sldMk cId="1506518980" sldId="2489"/>
            <ac:spMk id="14" creationId="{C9800183-F524-4412-AB39-A6E1A21FF0B3}"/>
          </ac:spMkLst>
        </pc:spChg>
        <pc:picChg chg="add mod">
          <ac:chgData name="Aurelien Domont" userId="6da7715ce44349b3" providerId="LiveId" clId="{9689C7A7-0C7F-47C6-AB86-2D84D75E0147}" dt="2022-11-02T01:54:01.557" v="3713" actId="1076"/>
          <ac:picMkLst>
            <pc:docMk/>
            <pc:sldMk cId="1506518980" sldId="2489"/>
            <ac:picMk id="3" creationId="{D55BE5CB-A348-1C42-6318-3B2FF351A7DE}"/>
          </ac:picMkLst>
        </pc:picChg>
        <pc:picChg chg="del">
          <ac:chgData name="Aurelien Domont" userId="6da7715ce44349b3" providerId="LiveId" clId="{9689C7A7-0C7F-47C6-AB86-2D84D75E0147}" dt="2022-11-02T01:53:45.209" v="3708" actId="478"/>
          <ac:picMkLst>
            <pc:docMk/>
            <pc:sldMk cId="1506518980" sldId="2489"/>
            <ac:picMk id="6" creationId="{3122DB87-4417-FF3E-6192-8653AA8F3827}"/>
          </ac:picMkLst>
        </pc:picChg>
      </pc:sldChg>
      <pc:sldChg chg="addSp delSp modSp add mod">
        <pc:chgData name="Aurelien Domont" userId="6da7715ce44349b3" providerId="LiveId" clId="{9689C7A7-0C7F-47C6-AB86-2D84D75E0147}" dt="2022-11-02T01:54:17.864" v="3718" actId="108"/>
        <pc:sldMkLst>
          <pc:docMk/>
          <pc:sldMk cId="2430447879" sldId="2490"/>
        </pc:sldMkLst>
        <pc:spChg chg="mod">
          <ac:chgData name="Aurelien Domont" userId="6da7715ce44349b3" providerId="LiveId" clId="{9689C7A7-0C7F-47C6-AB86-2D84D75E0147}" dt="2022-11-02T01:53:42.604" v="3707"/>
          <ac:spMkLst>
            <pc:docMk/>
            <pc:sldMk cId="2430447879" sldId="2490"/>
            <ac:spMk id="14" creationId="{C9800183-F524-4412-AB39-A6E1A21FF0B3}"/>
          </ac:spMkLst>
        </pc:spChg>
        <pc:picChg chg="del">
          <ac:chgData name="Aurelien Domont" userId="6da7715ce44349b3" providerId="LiveId" clId="{9689C7A7-0C7F-47C6-AB86-2D84D75E0147}" dt="2022-11-02T01:54:09.275" v="3714" actId="478"/>
          <ac:picMkLst>
            <pc:docMk/>
            <pc:sldMk cId="2430447879" sldId="2490"/>
            <ac:picMk id="4" creationId="{9F29AFC2-AF2F-F8D1-CD80-ABF0C3CC3F01}"/>
          </ac:picMkLst>
        </pc:picChg>
        <pc:picChg chg="add mod">
          <ac:chgData name="Aurelien Domont" userId="6da7715ce44349b3" providerId="LiveId" clId="{9689C7A7-0C7F-47C6-AB86-2D84D75E0147}" dt="2022-11-02T01:54:17.864" v="3718" actId="108"/>
          <ac:picMkLst>
            <pc:docMk/>
            <pc:sldMk cId="2430447879" sldId="2490"/>
            <ac:picMk id="5" creationId="{332031C9-ECD3-2F69-38DC-C9AB7572B80C}"/>
          </ac:picMkLst>
        </pc:picChg>
      </pc:sldChg>
      <pc:sldChg chg="addSp delSp modSp add mod">
        <pc:chgData name="Aurelien Domont" userId="6da7715ce44349b3" providerId="LiveId" clId="{9689C7A7-0C7F-47C6-AB86-2D84D75E0147}" dt="2022-11-02T02:13:38.870" v="3741" actId="108"/>
        <pc:sldMkLst>
          <pc:docMk/>
          <pc:sldMk cId="2149415452" sldId="2491"/>
        </pc:sldMkLst>
        <pc:spChg chg="mod">
          <ac:chgData name="Aurelien Domont" userId="6da7715ce44349b3" providerId="LiveId" clId="{9689C7A7-0C7F-47C6-AB86-2D84D75E0147}" dt="2022-11-02T01:55:22.448" v="3736" actId="20577"/>
          <ac:spMkLst>
            <pc:docMk/>
            <pc:sldMk cId="2149415452" sldId="2491"/>
            <ac:spMk id="14" creationId="{C9800183-F524-4412-AB39-A6E1A21FF0B3}"/>
          </ac:spMkLst>
        </pc:spChg>
        <pc:picChg chg="del">
          <ac:chgData name="Aurelien Domont" userId="6da7715ce44349b3" providerId="LiveId" clId="{9689C7A7-0C7F-47C6-AB86-2D84D75E0147}" dt="2022-11-02T01:55:25.370" v="3737" actId="478"/>
          <ac:picMkLst>
            <pc:docMk/>
            <pc:sldMk cId="2149415452" sldId="2491"/>
            <ac:picMk id="3" creationId="{39C5F102-E01F-3E4D-FADD-AAC1ED1B372C}"/>
          </ac:picMkLst>
        </pc:picChg>
        <pc:picChg chg="add mod">
          <ac:chgData name="Aurelien Domont" userId="6da7715ce44349b3" providerId="LiveId" clId="{9689C7A7-0C7F-47C6-AB86-2D84D75E0147}" dt="2022-11-02T02:13:38.870" v="3741" actId="108"/>
          <ac:picMkLst>
            <pc:docMk/>
            <pc:sldMk cId="2149415452" sldId="2491"/>
            <ac:picMk id="4" creationId="{F77B0774-151A-8048-4CB1-8A875F9D2B6A}"/>
          </ac:picMkLst>
        </pc:picChg>
      </pc:sldChg>
      <pc:sldChg chg="addSp delSp modSp add mod">
        <pc:chgData name="Aurelien Domont" userId="6da7715ce44349b3" providerId="LiveId" clId="{9689C7A7-0C7F-47C6-AB86-2D84D75E0147}" dt="2022-11-02T02:32:46.506" v="3803" actId="108"/>
        <pc:sldMkLst>
          <pc:docMk/>
          <pc:sldMk cId="2213929960" sldId="2492"/>
        </pc:sldMkLst>
        <pc:spChg chg="mod">
          <ac:chgData name="Aurelien Domont" userId="6da7715ce44349b3" providerId="LiveId" clId="{9689C7A7-0C7F-47C6-AB86-2D84D75E0147}" dt="2022-11-02T02:32:26.254" v="3796" actId="20577"/>
          <ac:spMkLst>
            <pc:docMk/>
            <pc:sldMk cId="2213929960" sldId="2492"/>
            <ac:spMk id="14" creationId="{C9800183-F524-4412-AB39-A6E1A21FF0B3}"/>
          </ac:spMkLst>
        </pc:spChg>
        <pc:picChg chg="add mod">
          <ac:chgData name="Aurelien Domont" userId="6da7715ce44349b3" providerId="LiveId" clId="{9689C7A7-0C7F-47C6-AB86-2D84D75E0147}" dt="2022-11-02T02:32:46.506" v="3803" actId="108"/>
          <ac:picMkLst>
            <pc:docMk/>
            <pc:sldMk cId="2213929960" sldId="2492"/>
            <ac:picMk id="3" creationId="{1A4F5225-6B02-1255-A7D7-58E58B7380F1}"/>
          </ac:picMkLst>
        </pc:picChg>
        <pc:picChg chg="del">
          <ac:chgData name="Aurelien Domont" userId="6da7715ce44349b3" providerId="LiveId" clId="{9689C7A7-0C7F-47C6-AB86-2D84D75E0147}" dt="2022-11-02T02:32:29.172" v="3797" actId="478"/>
          <ac:picMkLst>
            <pc:docMk/>
            <pc:sldMk cId="2213929960" sldId="2492"/>
            <ac:picMk id="4" creationId="{E9DE0522-DF72-1A15-1AB4-5458257613BD}"/>
          </ac:picMkLst>
        </pc:picChg>
      </pc:sldChg>
      <pc:sldChg chg="addSp delSp modSp add mod">
        <pc:chgData name="Aurelien Domont" userId="6da7715ce44349b3" providerId="LiveId" clId="{9689C7A7-0C7F-47C6-AB86-2D84D75E0147}" dt="2022-11-02T02:33:48.525" v="3842" actId="313"/>
        <pc:sldMkLst>
          <pc:docMk/>
          <pc:sldMk cId="4173811452" sldId="2493"/>
        </pc:sldMkLst>
        <pc:spChg chg="mod">
          <ac:chgData name="Aurelien Domont" userId="6da7715ce44349b3" providerId="LiveId" clId="{9689C7A7-0C7F-47C6-AB86-2D84D75E0147}" dt="2022-11-02T02:33:48.525" v="3842" actId="313"/>
          <ac:spMkLst>
            <pc:docMk/>
            <pc:sldMk cId="4173811452" sldId="2493"/>
            <ac:spMk id="14" creationId="{C9800183-F524-4412-AB39-A6E1A21FF0B3}"/>
          </ac:spMkLst>
        </pc:spChg>
        <pc:picChg chg="add mod">
          <ac:chgData name="Aurelien Domont" userId="6da7715ce44349b3" providerId="LiveId" clId="{9689C7A7-0C7F-47C6-AB86-2D84D75E0147}" dt="2022-11-02T02:33:40.274" v="3841" actId="1076"/>
          <ac:picMkLst>
            <pc:docMk/>
            <pc:sldMk cId="4173811452" sldId="2493"/>
            <ac:picMk id="3" creationId="{4A484279-430B-3E0F-2151-DF63B8BFBA0D}"/>
          </ac:picMkLst>
        </pc:picChg>
        <pc:picChg chg="del">
          <ac:chgData name="Aurelien Domont" userId="6da7715ce44349b3" providerId="LiveId" clId="{9689C7A7-0C7F-47C6-AB86-2D84D75E0147}" dt="2022-11-02T02:33:11.529" v="3833" actId="478"/>
          <ac:picMkLst>
            <pc:docMk/>
            <pc:sldMk cId="4173811452" sldId="2493"/>
            <ac:picMk id="6" creationId="{3122DB87-4417-FF3E-6192-8653AA8F3827}"/>
          </ac:picMkLst>
        </pc:picChg>
      </pc:sldChg>
      <pc:sldChg chg="addSp delSp modSp add mod">
        <pc:chgData name="Aurelien Domont" userId="6da7715ce44349b3" providerId="LiveId" clId="{9689C7A7-0C7F-47C6-AB86-2D84D75E0147}" dt="2022-11-02T02:34:37.437" v="3851" actId="108"/>
        <pc:sldMkLst>
          <pc:docMk/>
          <pc:sldMk cId="2995411495" sldId="2494"/>
        </pc:sldMkLst>
        <pc:spChg chg="add mod">
          <ac:chgData name="Aurelien Domont" userId="6da7715ce44349b3" providerId="LiveId" clId="{9689C7A7-0C7F-47C6-AB86-2D84D75E0147}" dt="2022-11-02T02:33:55.205" v="3844"/>
          <ac:spMkLst>
            <pc:docMk/>
            <pc:sldMk cId="2995411495" sldId="2494"/>
            <ac:spMk id="4" creationId="{C8B63B48-C9F3-8BAE-D809-D197F032E5FD}"/>
          </ac:spMkLst>
        </pc:spChg>
        <pc:picChg chg="del">
          <ac:chgData name="Aurelien Domont" userId="6da7715ce44349b3" providerId="LiveId" clId="{9689C7A7-0C7F-47C6-AB86-2D84D75E0147}" dt="2022-11-02T02:34:03.892" v="3845" actId="478"/>
          <ac:picMkLst>
            <pc:docMk/>
            <pc:sldMk cId="2995411495" sldId="2494"/>
            <ac:picMk id="3" creationId="{4A484279-430B-3E0F-2151-DF63B8BFBA0D}"/>
          </ac:picMkLst>
        </pc:picChg>
        <pc:picChg chg="add del">
          <ac:chgData name="Aurelien Domont" userId="6da7715ce44349b3" providerId="LiveId" clId="{9689C7A7-0C7F-47C6-AB86-2D84D75E0147}" dt="2022-11-02T02:34:14.602" v="3847" actId="478"/>
          <ac:picMkLst>
            <pc:docMk/>
            <pc:sldMk cId="2995411495" sldId="2494"/>
            <ac:picMk id="5" creationId="{4DF5C613-EA5E-68C1-45FA-83A3344CB27C}"/>
          </ac:picMkLst>
        </pc:picChg>
        <pc:picChg chg="add mod">
          <ac:chgData name="Aurelien Domont" userId="6da7715ce44349b3" providerId="LiveId" clId="{9689C7A7-0C7F-47C6-AB86-2D84D75E0147}" dt="2022-11-02T02:34:37.437" v="3851" actId="108"/>
          <ac:picMkLst>
            <pc:docMk/>
            <pc:sldMk cId="2995411495" sldId="2494"/>
            <ac:picMk id="6" creationId="{699AA04B-1A3F-44DC-1F6C-DBD3A59EA0F4}"/>
          </ac:picMkLst>
        </pc:picChg>
      </pc:sldChg>
      <pc:sldChg chg="addSp delSp modSp add mod">
        <pc:chgData name="Aurelien Domont" userId="6da7715ce44349b3" providerId="LiveId" clId="{9689C7A7-0C7F-47C6-AB86-2D84D75E0147}" dt="2022-11-02T02:35:16.863" v="3874" actId="1076"/>
        <pc:sldMkLst>
          <pc:docMk/>
          <pc:sldMk cId="637621387" sldId="2495"/>
        </pc:sldMkLst>
        <pc:spChg chg="mod">
          <ac:chgData name="Aurelien Domont" userId="6da7715ce44349b3" providerId="LiveId" clId="{9689C7A7-0C7F-47C6-AB86-2D84D75E0147}" dt="2022-11-02T02:34:57.450" v="3862" actId="20577"/>
          <ac:spMkLst>
            <pc:docMk/>
            <pc:sldMk cId="637621387" sldId="2495"/>
            <ac:spMk id="14" creationId="{C9800183-F524-4412-AB39-A6E1A21FF0B3}"/>
          </ac:spMkLst>
        </pc:spChg>
        <pc:picChg chg="del">
          <ac:chgData name="Aurelien Domont" userId="6da7715ce44349b3" providerId="LiveId" clId="{9689C7A7-0C7F-47C6-AB86-2D84D75E0147}" dt="2022-11-02T02:35:04.550" v="3869" actId="478"/>
          <ac:picMkLst>
            <pc:docMk/>
            <pc:sldMk cId="637621387" sldId="2495"/>
            <ac:picMk id="3" creationId="{4A484279-430B-3E0F-2151-DF63B8BFBA0D}"/>
          </ac:picMkLst>
        </pc:picChg>
        <pc:picChg chg="add mod">
          <ac:chgData name="Aurelien Domont" userId="6da7715ce44349b3" providerId="LiveId" clId="{9689C7A7-0C7F-47C6-AB86-2D84D75E0147}" dt="2022-11-02T02:35:16.863" v="3874" actId="1076"/>
          <ac:picMkLst>
            <pc:docMk/>
            <pc:sldMk cId="637621387" sldId="2495"/>
            <ac:picMk id="4" creationId="{A5A03A63-79A7-B0EE-BC34-9F10B33D63D7}"/>
          </ac:picMkLst>
        </pc:picChg>
      </pc:sldChg>
      <pc:sldChg chg="addSp delSp modSp add mod">
        <pc:chgData name="Aurelien Domont" userId="6da7715ce44349b3" providerId="LiveId" clId="{9689C7A7-0C7F-47C6-AB86-2D84D75E0147}" dt="2022-11-02T02:36:08.771" v="3886" actId="1076"/>
        <pc:sldMkLst>
          <pc:docMk/>
          <pc:sldMk cId="4006700188" sldId="2496"/>
        </pc:sldMkLst>
        <pc:spChg chg="mod">
          <ac:chgData name="Aurelien Domont" userId="6da7715ce44349b3" providerId="LiveId" clId="{9689C7A7-0C7F-47C6-AB86-2D84D75E0147}" dt="2022-11-02T02:35:01.377" v="3868" actId="20577"/>
          <ac:spMkLst>
            <pc:docMk/>
            <pc:sldMk cId="4006700188" sldId="2496"/>
            <ac:spMk id="14" creationId="{C9800183-F524-4412-AB39-A6E1A21FF0B3}"/>
          </ac:spMkLst>
        </pc:spChg>
        <pc:picChg chg="add del mod">
          <ac:chgData name="Aurelien Domont" userId="6da7715ce44349b3" providerId="LiveId" clId="{9689C7A7-0C7F-47C6-AB86-2D84D75E0147}" dt="2022-11-02T02:35:54.928" v="3880" actId="478"/>
          <ac:picMkLst>
            <pc:docMk/>
            <pc:sldMk cId="4006700188" sldId="2496"/>
            <ac:picMk id="3" creationId="{72CCD2C6-F1CA-4662-4D24-46CDD1695DEF}"/>
          </ac:picMkLst>
        </pc:picChg>
        <pc:picChg chg="add mod">
          <ac:chgData name="Aurelien Domont" userId="6da7715ce44349b3" providerId="LiveId" clId="{9689C7A7-0C7F-47C6-AB86-2D84D75E0147}" dt="2022-11-02T02:36:08.771" v="3886" actId="1076"/>
          <ac:picMkLst>
            <pc:docMk/>
            <pc:sldMk cId="4006700188" sldId="2496"/>
            <ac:picMk id="5" creationId="{B1B2A57E-BC03-697C-388B-2E5EAD27B7FF}"/>
          </ac:picMkLst>
        </pc:picChg>
        <pc:picChg chg="del">
          <ac:chgData name="Aurelien Domont" userId="6da7715ce44349b3" providerId="LiveId" clId="{9689C7A7-0C7F-47C6-AB86-2D84D75E0147}" dt="2022-11-02T02:35:19.970" v="3875" actId="478"/>
          <ac:picMkLst>
            <pc:docMk/>
            <pc:sldMk cId="4006700188" sldId="2496"/>
            <ac:picMk id="6" creationId="{699AA04B-1A3F-44DC-1F6C-DBD3A59EA0F4}"/>
          </ac:picMkLst>
        </pc:picChg>
      </pc:sldChg>
      <pc:sldChg chg="addSp delSp modSp add mod">
        <pc:chgData name="Aurelien Domont" userId="6da7715ce44349b3" providerId="LiveId" clId="{9689C7A7-0C7F-47C6-AB86-2D84D75E0147}" dt="2022-11-02T02:37:43.836" v="3915" actId="1076"/>
        <pc:sldMkLst>
          <pc:docMk/>
          <pc:sldMk cId="1016142014" sldId="2497"/>
        </pc:sldMkLst>
        <pc:spChg chg="mod">
          <ac:chgData name="Aurelien Domont" userId="6da7715ce44349b3" providerId="LiveId" clId="{9689C7A7-0C7F-47C6-AB86-2D84D75E0147}" dt="2022-11-02T02:37:17.702" v="3907" actId="20577"/>
          <ac:spMkLst>
            <pc:docMk/>
            <pc:sldMk cId="1016142014" sldId="2497"/>
            <ac:spMk id="14" creationId="{C9800183-F524-4412-AB39-A6E1A21FF0B3}"/>
          </ac:spMkLst>
        </pc:spChg>
        <pc:picChg chg="add mod">
          <ac:chgData name="Aurelien Domont" userId="6da7715ce44349b3" providerId="LiveId" clId="{9689C7A7-0C7F-47C6-AB86-2D84D75E0147}" dt="2022-11-02T02:37:43.836" v="3915" actId="1076"/>
          <ac:picMkLst>
            <pc:docMk/>
            <pc:sldMk cId="1016142014" sldId="2497"/>
            <ac:picMk id="3" creationId="{FA863B77-7FB3-39F6-209B-B3855A068954}"/>
          </ac:picMkLst>
        </pc:picChg>
        <pc:picChg chg="del">
          <ac:chgData name="Aurelien Domont" userId="6da7715ce44349b3" providerId="LiveId" clId="{9689C7A7-0C7F-47C6-AB86-2D84D75E0147}" dt="2022-11-02T02:37:19.244" v="3908" actId="478"/>
          <ac:picMkLst>
            <pc:docMk/>
            <pc:sldMk cId="1016142014" sldId="2497"/>
            <ac:picMk id="4" creationId="{A5A03A63-79A7-B0EE-BC34-9F10B33D63D7}"/>
          </ac:picMkLst>
        </pc:picChg>
      </pc:sldChg>
      <pc:sldChg chg="addSp delSp modSp add mod">
        <pc:chgData name="Aurelien Domont" userId="6da7715ce44349b3" providerId="LiveId" clId="{9689C7A7-0C7F-47C6-AB86-2D84D75E0147}" dt="2022-11-02T02:38:12.788" v="3925" actId="1036"/>
        <pc:sldMkLst>
          <pc:docMk/>
          <pc:sldMk cId="886454768" sldId="2498"/>
        </pc:sldMkLst>
        <pc:spChg chg="mod">
          <ac:chgData name="Aurelien Domont" userId="6da7715ce44349b3" providerId="LiveId" clId="{9689C7A7-0C7F-47C6-AB86-2D84D75E0147}" dt="2022-11-02T02:37:23.857" v="3909"/>
          <ac:spMkLst>
            <pc:docMk/>
            <pc:sldMk cId="886454768" sldId="2498"/>
            <ac:spMk id="14" creationId="{C9800183-F524-4412-AB39-A6E1A21FF0B3}"/>
          </ac:spMkLst>
        </pc:spChg>
        <pc:picChg chg="add mod">
          <ac:chgData name="Aurelien Domont" userId="6da7715ce44349b3" providerId="LiveId" clId="{9689C7A7-0C7F-47C6-AB86-2D84D75E0147}" dt="2022-11-02T02:38:12.788" v="3925" actId="1036"/>
          <ac:picMkLst>
            <pc:docMk/>
            <pc:sldMk cId="886454768" sldId="2498"/>
            <ac:picMk id="3" creationId="{8284A617-55A1-7731-F1F2-A510571C6F0D}"/>
          </ac:picMkLst>
        </pc:picChg>
        <pc:picChg chg="del">
          <ac:chgData name="Aurelien Domont" userId="6da7715ce44349b3" providerId="LiveId" clId="{9689C7A7-0C7F-47C6-AB86-2D84D75E0147}" dt="2022-11-02T02:37:27.019" v="3910" actId="478"/>
          <ac:picMkLst>
            <pc:docMk/>
            <pc:sldMk cId="886454768" sldId="2498"/>
            <ac:picMk id="5" creationId="{B1B2A57E-BC03-697C-388B-2E5EAD27B7FF}"/>
          </ac:picMkLst>
        </pc:picChg>
      </pc:sldChg>
      <pc:sldChg chg="addSp delSp modSp add mod ord">
        <pc:chgData name="Aurelien Domont" userId="6da7715ce44349b3" providerId="LiveId" clId="{9689C7A7-0C7F-47C6-AB86-2D84D75E0147}" dt="2022-11-02T02:42:31.431" v="4082" actId="20577"/>
        <pc:sldMkLst>
          <pc:docMk/>
          <pc:sldMk cId="1313741628" sldId="2499"/>
        </pc:sldMkLst>
        <pc:spChg chg="add mod">
          <ac:chgData name="Aurelien Domont" userId="6da7715ce44349b3" providerId="LiveId" clId="{9689C7A7-0C7F-47C6-AB86-2D84D75E0147}" dt="2022-11-02T02:41:57.609" v="4051" actId="1076"/>
          <ac:spMkLst>
            <pc:docMk/>
            <pc:sldMk cId="1313741628" sldId="2499"/>
            <ac:spMk id="3" creationId="{F1B9B7C5-2D7A-6C59-8C40-8D476941B584}"/>
          </ac:spMkLst>
        </pc:spChg>
        <pc:spChg chg="del">
          <ac:chgData name="Aurelien Domont" userId="6da7715ce44349b3" providerId="LiveId" clId="{9689C7A7-0C7F-47C6-AB86-2D84D75E0147}" dt="2022-11-02T02:38:52.286" v="3947" actId="478"/>
          <ac:spMkLst>
            <pc:docMk/>
            <pc:sldMk cId="1313741628" sldId="2499"/>
            <ac:spMk id="4" creationId="{C8B63B48-C9F3-8BAE-D809-D197F032E5FD}"/>
          </ac:spMkLst>
        </pc:spChg>
        <pc:spChg chg="add mod">
          <ac:chgData name="Aurelien Domont" userId="6da7715ce44349b3" providerId="LiveId" clId="{9689C7A7-0C7F-47C6-AB86-2D84D75E0147}" dt="2022-11-02T02:41:57.609" v="4051" actId="1076"/>
          <ac:spMkLst>
            <pc:docMk/>
            <pc:sldMk cId="1313741628" sldId="2499"/>
            <ac:spMk id="5" creationId="{BEEC659B-A365-0077-82CC-4DDFFE841C4D}"/>
          </ac:spMkLst>
        </pc:spChg>
        <pc:spChg chg="add mod">
          <ac:chgData name="Aurelien Domont" userId="6da7715ce44349b3" providerId="LiveId" clId="{9689C7A7-0C7F-47C6-AB86-2D84D75E0147}" dt="2022-11-02T02:41:57.609" v="4051" actId="1076"/>
          <ac:spMkLst>
            <pc:docMk/>
            <pc:sldMk cId="1313741628" sldId="2499"/>
            <ac:spMk id="7" creationId="{2FE1C889-3624-8CEF-41A2-36CE4B913456}"/>
          </ac:spMkLst>
        </pc:spChg>
        <pc:spChg chg="add mod">
          <ac:chgData name="Aurelien Domont" userId="6da7715ce44349b3" providerId="LiveId" clId="{9689C7A7-0C7F-47C6-AB86-2D84D75E0147}" dt="2022-11-02T02:41:57.609" v="4051" actId="1076"/>
          <ac:spMkLst>
            <pc:docMk/>
            <pc:sldMk cId="1313741628" sldId="2499"/>
            <ac:spMk id="8" creationId="{C0548393-8217-2499-23E7-1738E0741E64}"/>
          </ac:spMkLst>
        </pc:spChg>
        <pc:spChg chg="del">
          <ac:chgData name="Aurelien Domont" userId="6da7715ce44349b3" providerId="LiveId" clId="{9689C7A7-0C7F-47C6-AB86-2D84D75E0147}" dt="2022-11-02T02:42:04.020" v="4053" actId="478"/>
          <ac:spMkLst>
            <pc:docMk/>
            <pc:sldMk cId="1313741628" sldId="2499"/>
            <ac:spMk id="9" creationId="{7091EE47-6329-932C-6C99-7A505D7BFB78}"/>
          </ac:spMkLst>
        </pc:spChg>
        <pc:spChg chg="add mod">
          <ac:chgData name="Aurelien Domont" userId="6da7715ce44349b3" providerId="LiveId" clId="{9689C7A7-0C7F-47C6-AB86-2D84D75E0147}" dt="2022-11-02T02:41:57.609" v="4051" actId="1076"/>
          <ac:spMkLst>
            <pc:docMk/>
            <pc:sldMk cId="1313741628" sldId="2499"/>
            <ac:spMk id="10" creationId="{9ED1E05F-BBC7-51FE-9A7B-73A0D0498A7A}"/>
          </ac:spMkLst>
        </pc:spChg>
        <pc:spChg chg="add mod">
          <ac:chgData name="Aurelien Domont" userId="6da7715ce44349b3" providerId="LiveId" clId="{9689C7A7-0C7F-47C6-AB86-2D84D75E0147}" dt="2022-11-02T02:41:57.609" v="4051" actId="1076"/>
          <ac:spMkLst>
            <pc:docMk/>
            <pc:sldMk cId="1313741628" sldId="2499"/>
            <ac:spMk id="11" creationId="{9F69B49F-5FF8-6B7C-CB72-95B0F8DC9544}"/>
          </ac:spMkLst>
        </pc:spChg>
        <pc:spChg chg="add mod">
          <ac:chgData name="Aurelien Domont" userId="6da7715ce44349b3" providerId="LiveId" clId="{9689C7A7-0C7F-47C6-AB86-2D84D75E0147}" dt="2022-11-02T02:42:02.229" v="4052" actId="571"/>
          <ac:spMkLst>
            <pc:docMk/>
            <pc:sldMk cId="1313741628" sldId="2499"/>
            <ac:spMk id="12" creationId="{1D9D8684-2C8D-A60D-A209-0A6C74FA43B7}"/>
          </ac:spMkLst>
        </pc:spChg>
        <pc:spChg chg="add mod">
          <ac:chgData name="Aurelien Domont" userId="6da7715ce44349b3" providerId="LiveId" clId="{9689C7A7-0C7F-47C6-AB86-2D84D75E0147}" dt="2022-11-02T02:42:09.578" v="4062" actId="20577"/>
          <ac:spMkLst>
            <pc:docMk/>
            <pc:sldMk cId="1313741628" sldId="2499"/>
            <ac:spMk id="13" creationId="{6EFDAE21-ABD3-A282-FE8F-6EFE2ADC3310}"/>
          </ac:spMkLst>
        </pc:spChg>
        <pc:spChg chg="mod">
          <ac:chgData name="Aurelien Domont" userId="6da7715ce44349b3" providerId="LiveId" clId="{9689C7A7-0C7F-47C6-AB86-2D84D75E0147}" dt="2022-11-02T02:41:46.265" v="4050" actId="20577"/>
          <ac:spMkLst>
            <pc:docMk/>
            <pc:sldMk cId="1313741628" sldId="2499"/>
            <ac:spMk id="14" creationId="{C9800183-F524-4412-AB39-A6E1A21FF0B3}"/>
          </ac:spMkLst>
        </pc:spChg>
        <pc:spChg chg="add mod">
          <ac:chgData name="Aurelien Domont" userId="6da7715ce44349b3" providerId="LiveId" clId="{9689C7A7-0C7F-47C6-AB86-2D84D75E0147}" dt="2022-11-02T02:42:31.431" v="4082" actId="20577"/>
          <ac:spMkLst>
            <pc:docMk/>
            <pc:sldMk cId="1313741628" sldId="2499"/>
            <ac:spMk id="15" creationId="{43D40520-82FF-4441-8537-2D870F65B642}"/>
          </ac:spMkLst>
        </pc:spChg>
        <pc:spChg chg="add mod">
          <ac:chgData name="Aurelien Domont" userId="6da7715ce44349b3" providerId="LiveId" clId="{9689C7A7-0C7F-47C6-AB86-2D84D75E0147}" dt="2022-11-02T02:42:15.306" v="4064" actId="20577"/>
          <ac:spMkLst>
            <pc:docMk/>
            <pc:sldMk cId="1313741628" sldId="2499"/>
            <ac:spMk id="18" creationId="{2E382444-09F5-B49E-1FB5-C14D164E9993}"/>
          </ac:spMkLst>
        </pc:spChg>
        <pc:spChg chg="add mod">
          <ac:chgData name="Aurelien Domont" userId="6da7715ce44349b3" providerId="LiveId" clId="{9689C7A7-0C7F-47C6-AB86-2D84D75E0147}" dt="2022-11-02T02:42:28.138" v="4080" actId="20577"/>
          <ac:spMkLst>
            <pc:docMk/>
            <pc:sldMk cId="1313741628" sldId="2499"/>
            <ac:spMk id="19" creationId="{C5C74C18-728C-7CCC-03DA-9BED0078C201}"/>
          </ac:spMkLst>
        </pc:spChg>
        <pc:spChg chg="add mod">
          <ac:chgData name="Aurelien Domont" userId="6da7715ce44349b3" providerId="LiveId" clId="{9689C7A7-0C7F-47C6-AB86-2D84D75E0147}" dt="2022-11-02T02:42:24.159" v="4074" actId="20577"/>
          <ac:spMkLst>
            <pc:docMk/>
            <pc:sldMk cId="1313741628" sldId="2499"/>
            <ac:spMk id="20" creationId="{96217345-FF64-5FEB-9995-B0BB16E0C644}"/>
          </ac:spMkLst>
        </pc:spChg>
        <pc:picChg chg="del">
          <ac:chgData name="Aurelien Domont" userId="6da7715ce44349b3" providerId="LiveId" clId="{9689C7A7-0C7F-47C6-AB86-2D84D75E0147}" dt="2022-11-02T02:38:51.487" v="3946" actId="478"/>
          <ac:picMkLst>
            <pc:docMk/>
            <pc:sldMk cId="1313741628" sldId="2499"/>
            <ac:picMk id="6" creationId="{699AA04B-1A3F-44DC-1F6C-DBD3A59EA0F4}"/>
          </ac:picMkLst>
        </pc:picChg>
      </pc:sldChg>
      <pc:sldChg chg="addSp modSp add mod">
        <pc:chgData name="Aurelien Domont" userId="6da7715ce44349b3" providerId="LiveId" clId="{9689C7A7-0C7F-47C6-AB86-2D84D75E0147}" dt="2022-11-02T05:27:52.854" v="4780"/>
        <pc:sldMkLst>
          <pc:docMk/>
          <pc:sldMk cId="1722016442" sldId="2500"/>
        </pc:sldMkLst>
        <pc:spChg chg="mod">
          <ac:chgData name="Aurelien Domont" userId="6da7715ce44349b3" providerId="LiveId" clId="{9689C7A7-0C7F-47C6-AB86-2D84D75E0147}" dt="2022-11-02T02:43:34.162" v="4086" actId="207"/>
          <ac:spMkLst>
            <pc:docMk/>
            <pc:sldMk cId="1722016442" sldId="2500"/>
            <ac:spMk id="3" creationId="{F1B9B7C5-2D7A-6C59-8C40-8D476941B584}"/>
          </ac:spMkLst>
        </pc:spChg>
        <pc:spChg chg="add mod">
          <ac:chgData name="Aurelien Domont" userId="6da7715ce44349b3" providerId="LiveId" clId="{9689C7A7-0C7F-47C6-AB86-2D84D75E0147}" dt="2022-11-02T02:43:23.479" v="4084"/>
          <ac:spMkLst>
            <pc:docMk/>
            <pc:sldMk cId="1722016442" sldId="2500"/>
            <ac:spMk id="4" creationId="{F5D41DDB-D415-8FE4-2F48-B3CBC51937F4}"/>
          </ac:spMkLst>
        </pc:spChg>
        <pc:spChg chg="add mod">
          <ac:chgData name="Aurelien Domont" userId="6da7715ce44349b3" providerId="LiveId" clId="{9689C7A7-0C7F-47C6-AB86-2D84D75E0147}" dt="2022-11-02T05:27:52.854" v="4780"/>
          <ac:spMkLst>
            <pc:docMk/>
            <pc:sldMk cId="1722016442" sldId="2500"/>
            <ac:spMk id="6" creationId="{520F3717-31D0-42D4-FBAE-4001C8304CA4}"/>
          </ac:spMkLst>
        </pc:spChg>
        <pc:spChg chg="mod">
          <ac:chgData name="Aurelien Domont" userId="6da7715ce44349b3" providerId="LiveId" clId="{9689C7A7-0C7F-47C6-AB86-2D84D75E0147}" dt="2022-11-02T02:43:30.108" v="4085" actId="207"/>
          <ac:spMkLst>
            <pc:docMk/>
            <pc:sldMk cId="1722016442" sldId="2500"/>
            <ac:spMk id="7" creationId="{2FE1C889-3624-8CEF-41A2-36CE4B913456}"/>
          </ac:spMkLst>
        </pc:spChg>
        <pc:spChg chg="add mod">
          <ac:chgData name="Aurelien Domont" userId="6da7715ce44349b3" providerId="LiveId" clId="{9689C7A7-0C7F-47C6-AB86-2D84D75E0147}" dt="2022-11-02T05:27:52.854" v="4780"/>
          <ac:spMkLst>
            <pc:docMk/>
            <pc:sldMk cId="1722016442" sldId="2500"/>
            <ac:spMk id="9" creationId="{F1D9F4CC-AECF-D6BA-FEE9-B45016E989EF}"/>
          </ac:spMkLst>
        </pc:spChg>
        <pc:spChg chg="mod">
          <ac:chgData name="Aurelien Domont" userId="6da7715ce44349b3" providerId="LiveId" clId="{9689C7A7-0C7F-47C6-AB86-2D84D75E0147}" dt="2022-11-02T02:43:30.108" v="4085" actId="207"/>
          <ac:spMkLst>
            <pc:docMk/>
            <pc:sldMk cId="1722016442" sldId="2500"/>
            <ac:spMk id="10" creationId="{9ED1E05F-BBC7-51FE-9A7B-73A0D0498A7A}"/>
          </ac:spMkLst>
        </pc:spChg>
        <pc:spChg chg="mod">
          <ac:chgData name="Aurelien Domont" userId="6da7715ce44349b3" providerId="LiveId" clId="{9689C7A7-0C7F-47C6-AB86-2D84D75E0147}" dt="2022-11-02T02:43:34.162" v="4086" actId="207"/>
          <ac:spMkLst>
            <pc:docMk/>
            <pc:sldMk cId="1722016442" sldId="2500"/>
            <ac:spMk id="12" creationId="{1D9D8684-2C8D-A60D-A209-0A6C74FA43B7}"/>
          </ac:spMkLst>
        </pc:spChg>
        <pc:spChg chg="mod">
          <ac:chgData name="Aurelien Domont" userId="6da7715ce44349b3" providerId="LiveId" clId="{9689C7A7-0C7F-47C6-AB86-2D84D75E0147}" dt="2022-11-02T02:43:30.108" v="4085" actId="207"/>
          <ac:spMkLst>
            <pc:docMk/>
            <pc:sldMk cId="1722016442" sldId="2500"/>
            <ac:spMk id="15" creationId="{43D40520-82FF-4441-8537-2D870F65B642}"/>
          </ac:spMkLst>
        </pc:spChg>
        <pc:spChg chg="mod">
          <ac:chgData name="Aurelien Domont" userId="6da7715ce44349b3" providerId="LiveId" clId="{9689C7A7-0C7F-47C6-AB86-2D84D75E0147}" dt="2022-11-02T02:43:34.162" v="4086" actId="207"/>
          <ac:spMkLst>
            <pc:docMk/>
            <pc:sldMk cId="1722016442" sldId="2500"/>
            <ac:spMk id="19" creationId="{C5C74C18-728C-7CCC-03DA-9BED0078C201}"/>
          </ac:spMkLst>
        </pc:spChg>
      </pc:sldChg>
      <pc:sldChg chg="addSp delSp modSp add mod">
        <pc:chgData name="Aurelien Domont" userId="6da7715ce44349b3" providerId="LiveId" clId="{9689C7A7-0C7F-47C6-AB86-2D84D75E0147}" dt="2022-11-02T02:53:33.263" v="4285" actId="1035"/>
        <pc:sldMkLst>
          <pc:docMk/>
          <pc:sldMk cId="2042196424" sldId="2501"/>
        </pc:sldMkLst>
        <pc:spChg chg="add mod">
          <ac:chgData name="Aurelien Domont" userId="6da7715ce44349b3" providerId="LiveId" clId="{9689C7A7-0C7F-47C6-AB86-2D84D75E0147}" dt="2022-11-02T02:53:33.263" v="4285" actId="1035"/>
          <ac:spMkLst>
            <pc:docMk/>
            <pc:sldMk cId="2042196424" sldId="2501"/>
            <ac:spMk id="4" creationId="{41D663BB-27BA-E46F-6B98-F12D2257CA64}"/>
          </ac:spMkLst>
        </pc:spChg>
        <pc:spChg chg="add mod">
          <ac:chgData name="Aurelien Domont" userId="6da7715ce44349b3" providerId="LiveId" clId="{9689C7A7-0C7F-47C6-AB86-2D84D75E0147}" dt="2022-11-02T02:53:33.263" v="4285" actId="1035"/>
          <ac:spMkLst>
            <pc:docMk/>
            <pc:sldMk cId="2042196424" sldId="2501"/>
            <ac:spMk id="5" creationId="{06DA73FD-20A3-E024-66D9-6938CB5735C2}"/>
          </ac:spMkLst>
        </pc:spChg>
        <pc:spChg chg="add mod">
          <ac:chgData name="Aurelien Domont" userId="6da7715ce44349b3" providerId="LiveId" clId="{9689C7A7-0C7F-47C6-AB86-2D84D75E0147}" dt="2022-11-02T02:53:33.263" v="4285" actId="1035"/>
          <ac:spMkLst>
            <pc:docMk/>
            <pc:sldMk cId="2042196424" sldId="2501"/>
            <ac:spMk id="6" creationId="{0F8046C6-2CEC-AF8A-A770-64D12037D685}"/>
          </ac:spMkLst>
        </pc:spChg>
        <pc:spChg chg="add del mod">
          <ac:chgData name="Aurelien Domont" userId="6da7715ce44349b3" providerId="LiveId" clId="{9689C7A7-0C7F-47C6-AB86-2D84D75E0147}" dt="2022-11-02T02:48:42.004" v="4159"/>
          <ac:spMkLst>
            <pc:docMk/>
            <pc:sldMk cId="2042196424" sldId="2501"/>
            <ac:spMk id="7" creationId="{44F94D8D-6045-239A-738D-0D2A42FB1133}"/>
          </ac:spMkLst>
        </pc:spChg>
        <pc:spChg chg="add mod">
          <ac:chgData name="Aurelien Domont" userId="6da7715ce44349b3" providerId="LiveId" clId="{9689C7A7-0C7F-47C6-AB86-2D84D75E0147}" dt="2022-11-02T02:53:33.263" v="4285" actId="1035"/>
          <ac:spMkLst>
            <pc:docMk/>
            <pc:sldMk cId="2042196424" sldId="2501"/>
            <ac:spMk id="8" creationId="{D9245C18-57F5-F25A-188F-DD98B1018B0E}"/>
          </ac:spMkLst>
        </pc:spChg>
        <pc:spChg chg="del">
          <ac:chgData name="Aurelien Domont" userId="6da7715ce44349b3" providerId="LiveId" clId="{9689C7A7-0C7F-47C6-AB86-2D84D75E0147}" dt="2022-11-02T02:47:00.194" v="4098" actId="478"/>
          <ac:spMkLst>
            <pc:docMk/>
            <pc:sldMk cId="2042196424" sldId="2501"/>
            <ac:spMk id="9" creationId="{7091EE47-6329-932C-6C99-7A505D7BFB78}"/>
          </ac:spMkLst>
        </pc:spChg>
        <pc:spChg chg="add mod">
          <ac:chgData name="Aurelien Domont" userId="6da7715ce44349b3" providerId="LiveId" clId="{9689C7A7-0C7F-47C6-AB86-2D84D75E0147}" dt="2022-11-02T02:53:33.263" v="4285" actId="1035"/>
          <ac:spMkLst>
            <pc:docMk/>
            <pc:sldMk cId="2042196424" sldId="2501"/>
            <ac:spMk id="10" creationId="{386D8E5A-E671-D080-43A4-3FB78600FA90}"/>
          </ac:spMkLst>
        </pc:spChg>
        <pc:spChg chg="add del mod">
          <ac:chgData name="Aurelien Domont" userId="6da7715ce44349b3" providerId="LiveId" clId="{9689C7A7-0C7F-47C6-AB86-2D84D75E0147}" dt="2022-11-02T02:47:24.371" v="4100" actId="478"/>
          <ac:spMkLst>
            <pc:docMk/>
            <pc:sldMk cId="2042196424" sldId="2501"/>
            <ac:spMk id="11" creationId="{5009D64A-E137-7BAC-D80F-26E16BA959C8}"/>
          </ac:spMkLst>
        </pc:spChg>
        <pc:spChg chg="add del mod">
          <ac:chgData name="Aurelien Domont" userId="6da7715ce44349b3" providerId="LiveId" clId="{9689C7A7-0C7F-47C6-AB86-2D84D75E0147}" dt="2022-11-02T02:47:24.371" v="4100" actId="478"/>
          <ac:spMkLst>
            <pc:docMk/>
            <pc:sldMk cId="2042196424" sldId="2501"/>
            <ac:spMk id="12" creationId="{9E30A365-2CE1-99BA-214C-1A6FEE302C6F}"/>
          </ac:spMkLst>
        </pc:spChg>
        <pc:spChg chg="add del mod">
          <ac:chgData name="Aurelien Domont" userId="6da7715ce44349b3" providerId="LiveId" clId="{9689C7A7-0C7F-47C6-AB86-2D84D75E0147}" dt="2022-11-02T02:47:24.371" v="4100" actId="478"/>
          <ac:spMkLst>
            <pc:docMk/>
            <pc:sldMk cId="2042196424" sldId="2501"/>
            <ac:spMk id="13" creationId="{5ACE2880-3FEB-6C77-33A4-662BFA72824F}"/>
          </ac:spMkLst>
        </pc:spChg>
        <pc:spChg chg="mod">
          <ac:chgData name="Aurelien Domont" userId="6da7715ce44349b3" providerId="LiveId" clId="{9689C7A7-0C7F-47C6-AB86-2D84D75E0147}" dt="2022-11-02T02:45:35.491" v="4096" actId="20577"/>
          <ac:spMkLst>
            <pc:docMk/>
            <pc:sldMk cId="2042196424" sldId="2501"/>
            <ac:spMk id="14" creationId="{C9800183-F524-4412-AB39-A6E1A21FF0B3}"/>
          </ac:spMkLst>
        </pc:spChg>
        <pc:spChg chg="add del mod">
          <ac:chgData name="Aurelien Domont" userId="6da7715ce44349b3" providerId="LiveId" clId="{9689C7A7-0C7F-47C6-AB86-2D84D75E0147}" dt="2022-11-02T02:47:24.371" v="4100" actId="478"/>
          <ac:spMkLst>
            <pc:docMk/>
            <pc:sldMk cId="2042196424" sldId="2501"/>
            <ac:spMk id="15" creationId="{6A1B4A9A-034E-1B42-ABBA-EE65748B6F40}"/>
          </ac:spMkLst>
        </pc:spChg>
        <pc:spChg chg="add del mod">
          <ac:chgData name="Aurelien Domont" userId="6da7715ce44349b3" providerId="LiveId" clId="{9689C7A7-0C7F-47C6-AB86-2D84D75E0147}" dt="2022-11-02T02:47:24.371" v="4100" actId="478"/>
          <ac:spMkLst>
            <pc:docMk/>
            <pc:sldMk cId="2042196424" sldId="2501"/>
            <ac:spMk id="18" creationId="{2163387E-64F3-D710-802B-257697A27AFF}"/>
          </ac:spMkLst>
        </pc:spChg>
        <pc:spChg chg="add del mod">
          <ac:chgData name="Aurelien Domont" userId="6da7715ce44349b3" providerId="LiveId" clId="{9689C7A7-0C7F-47C6-AB86-2D84D75E0147}" dt="2022-11-02T02:47:24.371" v="4100" actId="478"/>
          <ac:spMkLst>
            <pc:docMk/>
            <pc:sldMk cId="2042196424" sldId="2501"/>
            <ac:spMk id="19" creationId="{BED72A38-B974-B3D0-9076-D9AB33C16D38}"/>
          </ac:spMkLst>
        </pc:spChg>
        <pc:spChg chg="add mod">
          <ac:chgData name="Aurelien Domont" userId="6da7715ce44349b3" providerId="LiveId" clId="{9689C7A7-0C7F-47C6-AB86-2D84D75E0147}" dt="2022-11-02T02:53:33.263" v="4285" actId="1035"/>
          <ac:spMkLst>
            <pc:docMk/>
            <pc:sldMk cId="2042196424" sldId="2501"/>
            <ac:spMk id="20" creationId="{79BA6B66-C1B0-29ED-B97F-2BA44499F396}"/>
          </ac:spMkLst>
        </pc:spChg>
        <pc:picChg chg="del">
          <ac:chgData name="Aurelien Domont" userId="6da7715ce44349b3" providerId="LiveId" clId="{9689C7A7-0C7F-47C6-AB86-2D84D75E0147}" dt="2022-11-02T02:46:58.806" v="4097" actId="478"/>
          <ac:picMkLst>
            <pc:docMk/>
            <pc:sldMk cId="2042196424" sldId="2501"/>
            <ac:picMk id="3" creationId="{09517F1C-5104-E9D1-D846-8452907DC4C0}"/>
          </ac:picMkLst>
        </pc:picChg>
      </pc:sldChg>
      <pc:sldChg chg="addSp modSp add mod">
        <pc:chgData name="Aurelien Domont" userId="6da7715ce44349b3" providerId="LiveId" clId="{9689C7A7-0C7F-47C6-AB86-2D84D75E0147}" dt="2022-11-02T02:56:45.775" v="4506" actId="20577"/>
        <pc:sldMkLst>
          <pc:docMk/>
          <pc:sldMk cId="626365902" sldId="2502"/>
        </pc:sldMkLst>
        <pc:spChg chg="add mod">
          <ac:chgData name="Aurelien Domont" userId="6da7715ce44349b3" providerId="LiveId" clId="{9689C7A7-0C7F-47C6-AB86-2D84D75E0147}" dt="2022-11-02T02:53:45.356" v="4287"/>
          <ac:spMkLst>
            <pc:docMk/>
            <pc:sldMk cId="626365902" sldId="2502"/>
            <ac:spMk id="3" creationId="{99133652-C9DF-4D57-C3A4-E109088086DF}"/>
          </ac:spMkLst>
        </pc:spChg>
        <pc:spChg chg="add mod">
          <ac:chgData name="Aurelien Domont" userId="6da7715ce44349b3" providerId="LiveId" clId="{9689C7A7-0C7F-47C6-AB86-2D84D75E0147}" dt="2022-11-02T02:56:45.775" v="4506" actId="20577"/>
          <ac:spMkLst>
            <pc:docMk/>
            <pc:sldMk cId="626365902" sldId="2502"/>
            <ac:spMk id="7" creationId="{E7614020-9325-0786-3F5B-5A2DDF2644DD}"/>
          </ac:spMkLst>
        </pc:spChg>
        <pc:spChg chg="mod">
          <ac:chgData name="Aurelien Domont" userId="6da7715ce44349b3" providerId="LiveId" clId="{9689C7A7-0C7F-47C6-AB86-2D84D75E0147}" dt="2022-11-02T02:53:59.036" v="4326" actId="20577"/>
          <ac:spMkLst>
            <pc:docMk/>
            <pc:sldMk cId="626365902" sldId="2502"/>
            <ac:spMk id="14" creationId="{C9800183-F524-4412-AB39-A6E1A21FF0B3}"/>
          </ac:spMkLst>
        </pc:spChg>
      </pc:sldChg>
      <pc:sldChg chg="addSp delSp modSp add mod">
        <pc:chgData name="Aurelien Domont" userId="6da7715ce44349b3" providerId="LiveId" clId="{9689C7A7-0C7F-47C6-AB86-2D84D75E0147}" dt="2022-11-02T03:28:55.265" v="4674" actId="20577"/>
        <pc:sldMkLst>
          <pc:docMk/>
          <pc:sldMk cId="2438314809" sldId="2503"/>
        </pc:sldMkLst>
        <pc:spChg chg="del">
          <ac:chgData name="Aurelien Domont" userId="6da7715ce44349b3" providerId="LiveId" clId="{9689C7A7-0C7F-47C6-AB86-2D84D75E0147}" dt="2022-11-02T03:20:40.642" v="4539" actId="478"/>
          <ac:spMkLst>
            <pc:docMk/>
            <pc:sldMk cId="2438314809" sldId="2503"/>
            <ac:spMk id="3" creationId="{15197D78-7F46-162A-728F-75095222EECA}"/>
          </ac:spMkLst>
        </pc:spChg>
        <pc:spChg chg="add mod">
          <ac:chgData name="Aurelien Domont" userId="6da7715ce44349b3" providerId="LiveId" clId="{9689C7A7-0C7F-47C6-AB86-2D84D75E0147}" dt="2022-11-02T03:20:51.245" v="4559" actId="20577"/>
          <ac:spMkLst>
            <pc:docMk/>
            <pc:sldMk cId="2438314809" sldId="2503"/>
            <ac:spMk id="5" creationId="{844CEC7D-1E6A-2E8F-56F6-64852A91407C}"/>
          </ac:spMkLst>
        </pc:spChg>
        <pc:spChg chg="add mod">
          <ac:chgData name="Aurelien Domont" userId="6da7715ce44349b3" providerId="LiveId" clId="{9689C7A7-0C7F-47C6-AB86-2D84D75E0147}" dt="2022-11-02T03:28:55.265" v="4674" actId="20577"/>
          <ac:spMkLst>
            <pc:docMk/>
            <pc:sldMk cId="2438314809" sldId="2503"/>
            <ac:spMk id="6" creationId="{D4AAB46B-808E-2887-9D93-809623696116}"/>
          </ac:spMkLst>
        </pc:spChg>
        <pc:spChg chg="add mod">
          <ac:chgData name="Aurelien Domont" userId="6da7715ce44349b3" providerId="LiveId" clId="{9689C7A7-0C7F-47C6-AB86-2D84D75E0147}" dt="2022-11-02T03:28:49.965" v="4669" actId="21"/>
          <ac:spMkLst>
            <pc:docMk/>
            <pc:sldMk cId="2438314809" sldId="2503"/>
            <ac:spMk id="7" creationId="{DAF79030-841F-218A-12EF-B319F91B3CB1}"/>
          </ac:spMkLst>
        </pc:spChg>
        <pc:spChg chg="add mod">
          <ac:chgData name="Aurelien Domont" userId="6da7715ce44349b3" providerId="LiveId" clId="{9689C7A7-0C7F-47C6-AB86-2D84D75E0147}" dt="2022-11-02T03:28:53.725" v="4672" actId="20577"/>
          <ac:spMkLst>
            <pc:docMk/>
            <pc:sldMk cId="2438314809" sldId="2503"/>
            <ac:spMk id="8" creationId="{91B2DEFA-13B6-B598-82A1-B05ACA2A0A9C}"/>
          </ac:spMkLst>
        </pc:spChg>
        <pc:spChg chg="del">
          <ac:chgData name="Aurelien Domont" userId="6da7715ce44349b3" providerId="LiveId" clId="{9689C7A7-0C7F-47C6-AB86-2D84D75E0147}" dt="2022-11-02T03:20:53.574" v="4560" actId="478"/>
          <ac:spMkLst>
            <pc:docMk/>
            <pc:sldMk cId="2438314809" sldId="2503"/>
            <ac:spMk id="9" creationId="{7091EE47-6329-932C-6C99-7A505D7BFB78}"/>
          </ac:spMkLst>
        </pc:spChg>
        <pc:spChg chg="add mod">
          <ac:chgData name="Aurelien Domont" userId="6da7715ce44349b3" providerId="LiveId" clId="{9689C7A7-0C7F-47C6-AB86-2D84D75E0147}" dt="2022-11-02T03:28:51.471" v="4670"/>
          <ac:spMkLst>
            <pc:docMk/>
            <pc:sldMk cId="2438314809" sldId="2503"/>
            <ac:spMk id="10" creationId="{38CCD83A-1C56-011D-B653-01382792C30C}"/>
          </ac:spMkLst>
        </pc:spChg>
        <pc:spChg chg="mod">
          <ac:chgData name="Aurelien Domont" userId="6da7715ce44349b3" providerId="LiveId" clId="{9689C7A7-0C7F-47C6-AB86-2D84D75E0147}" dt="2022-11-02T03:22:34.847" v="4585" actId="20577"/>
          <ac:spMkLst>
            <pc:docMk/>
            <pc:sldMk cId="2438314809" sldId="2503"/>
            <ac:spMk id="14" creationId="{C9800183-F524-4412-AB39-A6E1A21FF0B3}"/>
          </ac:spMkLst>
        </pc:spChg>
        <pc:picChg chg="del">
          <ac:chgData name="Aurelien Domont" userId="6da7715ce44349b3" providerId="LiveId" clId="{9689C7A7-0C7F-47C6-AB86-2D84D75E0147}" dt="2022-11-02T03:20:40.642" v="4539" actId="478"/>
          <ac:picMkLst>
            <pc:docMk/>
            <pc:sldMk cId="2438314809" sldId="2503"/>
            <ac:picMk id="4" creationId="{929427DD-E397-2CA0-2910-E2AC616137FB}"/>
          </ac:picMkLst>
        </pc:picChg>
      </pc:sldChg>
      <pc:sldChg chg="addSp delSp modSp add mod">
        <pc:chgData name="Aurelien Domont" userId="6da7715ce44349b3" providerId="LiveId" clId="{9689C7A7-0C7F-47C6-AB86-2D84D75E0147}" dt="2022-11-02T03:33:35.715" v="4725" actId="20577"/>
        <pc:sldMkLst>
          <pc:docMk/>
          <pc:sldMk cId="2221893605" sldId="2504"/>
        </pc:sldMkLst>
        <pc:spChg chg="add mod">
          <ac:chgData name="Aurelien Domont" userId="6da7715ce44349b3" providerId="LiveId" clId="{9689C7A7-0C7F-47C6-AB86-2D84D75E0147}" dt="2022-11-02T03:28:01.388" v="4667" actId="113"/>
          <ac:spMkLst>
            <pc:docMk/>
            <pc:sldMk cId="2221893605" sldId="2504"/>
            <ac:spMk id="3" creationId="{2F31037E-B96D-6DA9-649D-9D9C5D8C8937}"/>
          </ac:spMkLst>
        </pc:spChg>
        <pc:spChg chg="add del mod">
          <ac:chgData name="Aurelien Domont" userId="6da7715ce44349b3" providerId="LiveId" clId="{9689C7A7-0C7F-47C6-AB86-2D84D75E0147}" dt="2022-11-02T03:33:00.084" v="4713" actId="478"/>
          <ac:spMkLst>
            <pc:docMk/>
            <pc:sldMk cId="2221893605" sldId="2504"/>
            <ac:spMk id="4" creationId="{DD2D0091-BA9C-0F49-FD33-E8996A1F716D}"/>
          </ac:spMkLst>
        </pc:spChg>
        <pc:spChg chg="mod">
          <ac:chgData name="Aurelien Domont" userId="6da7715ce44349b3" providerId="LiveId" clId="{9689C7A7-0C7F-47C6-AB86-2D84D75E0147}" dt="2022-11-02T03:33:35.715" v="4725" actId="20577"/>
          <ac:spMkLst>
            <pc:docMk/>
            <pc:sldMk cId="2221893605" sldId="2504"/>
            <ac:spMk id="6" creationId="{D4AAB46B-808E-2887-9D93-809623696116}"/>
          </ac:spMkLst>
        </pc:spChg>
        <pc:spChg chg="mod">
          <ac:chgData name="Aurelien Domont" userId="6da7715ce44349b3" providerId="LiveId" clId="{9689C7A7-0C7F-47C6-AB86-2D84D75E0147}" dt="2022-11-02T03:27:45.455" v="4647" actId="1037"/>
          <ac:spMkLst>
            <pc:docMk/>
            <pc:sldMk cId="2221893605" sldId="2504"/>
            <ac:spMk id="7" creationId="{DAF79030-841F-218A-12EF-B319F91B3CB1}"/>
          </ac:spMkLst>
        </pc:spChg>
        <pc:spChg chg="del">
          <ac:chgData name="Aurelien Domont" userId="6da7715ce44349b3" providerId="LiveId" clId="{9689C7A7-0C7F-47C6-AB86-2D84D75E0147}" dt="2022-11-02T03:27:28.987" v="4625" actId="478"/>
          <ac:spMkLst>
            <pc:docMk/>
            <pc:sldMk cId="2221893605" sldId="2504"/>
            <ac:spMk id="8" creationId="{91B2DEFA-13B6-B598-82A1-B05ACA2A0A9C}"/>
          </ac:spMkLst>
        </pc:spChg>
        <pc:spChg chg="del">
          <ac:chgData name="Aurelien Domont" userId="6da7715ce44349b3" providerId="LiveId" clId="{9689C7A7-0C7F-47C6-AB86-2D84D75E0147}" dt="2022-11-02T03:27:28.987" v="4625" actId="478"/>
          <ac:spMkLst>
            <pc:docMk/>
            <pc:sldMk cId="2221893605" sldId="2504"/>
            <ac:spMk id="10" creationId="{38CCD83A-1C56-011D-B653-01382792C30C}"/>
          </ac:spMkLst>
        </pc:spChg>
        <pc:spChg chg="add mod">
          <ac:chgData name="Aurelien Domont" userId="6da7715ce44349b3" providerId="LiveId" clId="{9689C7A7-0C7F-47C6-AB86-2D84D75E0147}" dt="2022-11-02T03:33:05.070" v="4716" actId="1076"/>
          <ac:spMkLst>
            <pc:docMk/>
            <pc:sldMk cId="2221893605" sldId="2504"/>
            <ac:spMk id="12" creationId="{B0DE5104-91DD-72B3-8548-0085AC4730D8}"/>
          </ac:spMkLst>
        </pc:spChg>
        <pc:picChg chg="add del mod">
          <ac:chgData name="Aurelien Domont" userId="6da7715ce44349b3" providerId="LiveId" clId="{9689C7A7-0C7F-47C6-AB86-2D84D75E0147}" dt="2022-11-02T03:31:33.559" v="4694" actId="478"/>
          <ac:picMkLst>
            <pc:docMk/>
            <pc:sldMk cId="2221893605" sldId="2504"/>
            <ac:picMk id="11" creationId="{820025D2-47A2-0779-D468-3DB91A0E42B1}"/>
          </ac:picMkLst>
        </pc:picChg>
      </pc:sldChg>
      <pc:sldChg chg="modSp add mod">
        <pc:chgData name="Aurelien Domont" userId="6da7715ce44349b3" providerId="LiveId" clId="{9689C7A7-0C7F-47C6-AB86-2D84D75E0147}" dt="2022-11-02T03:33:28.267" v="4722" actId="20577"/>
        <pc:sldMkLst>
          <pc:docMk/>
          <pc:sldMk cId="3112449534" sldId="2505"/>
        </pc:sldMkLst>
        <pc:spChg chg="mod">
          <ac:chgData name="Aurelien Domont" userId="6da7715ce44349b3" providerId="LiveId" clId="{9689C7A7-0C7F-47C6-AB86-2D84D75E0147}" dt="2022-11-02T03:33:28.267" v="4722" actId="20577"/>
          <ac:spMkLst>
            <pc:docMk/>
            <pc:sldMk cId="3112449534" sldId="2505"/>
            <ac:spMk id="6" creationId="{D4AAB46B-808E-2887-9D93-809623696116}"/>
          </ac:spMkLst>
        </pc:spChg>
        <pc:spChg chg="mod">
          <ac:chgData name="Aurelien Domont" userId="6da7715ce44349b3" providerId="LiveId" clId="{9689C7A7-0C7F-47C6-AB86-2D84D75E0147}" dt="2022-11-02T03:33:22.596" v="4719" actId="207"/>
          <ac:spMkLst>
            <pc:docMk/>
            <pc:sldMk cId="3112449534" sldId="2505"/>
            <ac:spMk id="12" creationId="{B0DE5104-91DD-72B3-8548-0085AC4730D8}"/>
          </ac:spMkLst>
        </pc:spChg>
      </pc:sldChg>
      <pc:sldChg chg="addSp modSp add del mod">
        <pc:chgData name="Aurelien Domont" userId="6da7715ce44349b3" providerId="LiveId" clId="{9689C7A7-0C7F-47C6-AB86-2D84D75E0147}" dt="2022-11-02T03:50:06.303" v="4771" actId="47"/>
        <pc:sldMkLst>
          <pc:docMk/>
          <pc:sldMk cId="3553045358" sldId="2506"/>
        </pc:sldMkLst>
        <pc:spChg chg="add mod ord">
          <ac:chgData name="Aurelien Domont" userId="6da7715ce44349b3" providerId="LiveId" clId="{9689C7A7-0C7F-47C6-AB86-2D84D75E0147}" dt="2022-11-02T03:36:28.705" v="4754" actId="2085"/>
          <ac:spMkLst>
            <pc:docMk/>
            <pc:sldMk cId="3553045358" sldId="2506"/>
            <ac:spMk id="4" creationId="{266E4B51-8794-C22D-EFC1-59605FD09390}"/>
          </ac:spMkLst>
        </pc:spChg>
        <pc:spChg chg="mod">
          <ac:chgData name="Aurelien Domont" userId="6da7715ce44349b3" providerId="LiveId" clId="{9689C7A7-0C7F-47C6-AB86-2D84D75E0147}" dt="2022-11-02T03:36:02.734" v="4738" actId="20577"/>
          <ac:spMkLst>
            <pc:docMk/>
            <pc:sldMk cId="3553045358" sldId="2506"/>
            <ac:spMk id="6" creationId="{D4AAB46B-808E-2887-9D93-809623696116}"/>
          </ac:spMkLst>
        </pc:spChg>
        <pc:spChg chg="mod">
          <ac:chgData name="Aurelien Domont" userId="6da7715ce44349b3" providerId="LiveId" clId="{9689C7A7-0C7F-47C6-AB86-2D84D75E0147}" dt="2022-11-02T03:36:11.178" v="4753" actId="1038"/>
          <ac:spMkLst>
            <pc:docMk/>
            <pc:sldMk cId="3553045358" sldId="2506"/>
            <ac:spMk id="12" creationId="{B0DE5104-91DD-72B3-8548-0085AC4730D8}"/>
          </ac:spMkLst>
        </pc:spChg>
      </pc:sldChg>
      <pc:sldChg chg="modSp add del mod">
        <pc:chgData name="Aurelien Domont" userId="6da7715ce44349b3" providerId="LiveId" clId="{9689C7A7-0C7F-47C6-AB86-2D84D75E0147}" dt="2022-11-02T03:50:04.133" v="4770" actId="47"/>
        <pc:sldMkLst>
          <pc:docMk/>
          <pc:sldMk cId="383008396" sldId="2507"/>
        </pc:sldMkLst>
        <pc:spChg chg="mod">
          <ac:chgData name="Aurelien Domont" userId="6da7715ce44349b3" providerId="LiveId" clId="{9689C7A7-0C7F-47C6-AB86-2D84D75E0147}" dt="2022-11-02T03:36:58.585" v="4761" actId="20577"/>
          <ac:spMkLst>
            <pc:docMk/>
            <pc:sldMk cId="383008396" sldId="2507"/>
            <ac:spMk id="6" creationId="{D4AAB46B-808E-2887-9D93-809623696116}"/>
          </ac:spMkLst>
        </pc:spChg>
        <pc:spChg chg="mod">
          <ac:chgData name="Aurelien Domont" userId="6da7715ce44349b3" providerId="LiveId" clId="{9689C7A7-0C7F-47C6-AB86-2D84D75E0147}" dt="2022-11-02T03:37:04.203" v="4762" actId="207"/>
          <ac:spMkLst>
            <pc:docMk/>
            <pc:sldMk cId="383008396" sldId="2507"/>
            <ac:spMk id="12" creationId="{B0DE5104-91DD-72B3-8548-0085AC4730D8}"/>
          </ac:spMkLst>
        </pc:spChg>
      </pc:sldChg>
      <pc:sldChg chg="modSp add mod">
        <pc:chgData name="Aurelien Domont" userId="6da7715ce44349b3" providerId="LiveId" clId="{9689C7A7-0C7F-47C6-AB86-2D84D75E0147}" dt="2022-11-02T03:37:57.800" v="4767" actId="14100"/>
        <pc:sldMkLst>
          <pc:docMk/>
          <pc:sldMk cId="3906538238" sldId="2508"/>
        </pc:sldMkLst>
        <pc:spChg chg="mod">
          <ac:chgData name="Aurelien Domont" userId="6da7715ce44349b3" providerId="LiveId" clId="{9689C7A7-0C7F-47C6-AB86-2D84D75E0147}" dt="2022-11-02T03:37:48.501" v="4764" actId="207"/>
          <ac:spMkLst>
            <pc:docMk/>
            <pc:sldMk cId="3906538238" sldId="2508"/>
            <ac:spMk id="4" creationId="{266E4B51-8794-C22D-EFC1-59605FD09390}"/>
          </ac:spMkLst>
        </pc:spChg>
        <pc:spChg chg="mod">
          <ac:chgData name="Aurelien Domont" userId="6da7715ce44349b3" providerId="LiveId" clId="{9689C7A7-0C7F-47C6-AB86-2D84D75E0147}" dt="2022-11-02T03:37:57.800" v="4767" actId="14100"/>
          <ac:spMkLst>
            <pc:docMk/>
            <pc:sldMk cId="3906538238" sldId="2508"/>
            <ac:spMk id="6" creationId="{D4AAB46B-808E-2887-9D93-809623696116}"/>
          </ac:spMkLst>
        </pc:spChg>
      </pc:sldChg>
      <pc:sldChg chg="modSp add mod">
        <pc:chgData name="Aurelien Domont" userId="6da7715ce44349b3" providerId="LiveId" clId="{9689C7A7-0C7F-47C6-AB86-2D84D75E0147}" dt="2022-11-02T03:38:16.775" v="4769" actId="207"/>
        <pc:sldMkLst>
          <pc:docMk/>
          <pc:sldMk cId="1407103359" sldId="2509"/>
        </pc:sldMkLst>
        <pc:spChg chg="mod">
          <ac:chgData name="Aurelien Domont" userId="6da7715ce44349b3" providerId="LiveId" clId="{9689C7A7-0C7F-47C6-AB86-2D84D75E0147}" dt="2022-11-02T03:38:16.775" v="4769" actId="207"/>
          <ac:spMkLst>
            <pc:docMk/>
            <pc:sldMk cId="1407103359" sldId="2509"/>
            <ac:spMk id="4" creationId="{266E4B51-8794-C22D-EFC1-59605FD09390}"/>
          </ac:spMkLst>
        </pc:spChg>
      </pc:sldChg>
      <pc:sldChg chg="addSp delSp modSp add mod">
        <pc:chgData name="Aurelien Domont" userId="6da7715ce44349b3" providerId="LiveId" clId="{9689C7A7-0C7F-47C6-AB86-2D84D75E0147}" dt="2022-11-02T04:01:46.199" v="4779" actId="108"/>
        <pc:sldMkLst>
          <pc:docMk/>
          <pc:sldMk cId="1206263927" sldId="2510"/>
        </pc:sldMkLst>
        <pc:picChg chg="del">
          <ac:chgData name="Aurelien Domont" userId="6da7715ce44349b3" providerId="LiveId" clId="{9689C7A7-0C7F-47C6-AB86-2D84D75E0147}" dt="2022-11-02T04:01:10.950" v="4773" actId="478"/>
          <ac:picMkLst>
            <pc:docMk/>
            <pc:sldMk cId="1206263927" sldId="2510"/>
            <ac:picMk id="4" creationId="{C468167D-2C74-9AEF-6B3C-F52EEFAD38CD}"/>
          </ac:picMkLst>
        </pc:picChg>
        <pc:picChg chg="add mod">
          <ac:chgData name="Aurelien Domont" userId="6da7715ce44349b3" providerId="LiveId" clId="{9689C7A7-0C7F-47C6-AB86-2D84D75E0147}" dt="2022-11-02T04:01:46.199" v="4779" actId="108"/>
          <ac:picMkLst>
            <pc:docMk/>
            <pc:sldMk cId="1206263927" sldId="2510"/>
            <ac:picMk id="5" creationId="{221B3B93-2F57-E8B8-2313-06DFB6F6FC4E}"/>
          </ac:picMkLst>
        </pc:picChg>
      </pc:sldChg>
    </pc:docChg>
  </pc:docChgLst>
  <pc:docChgLst>
    <pc:chgData name="Aurelien Domont" userId="6da7715ce44349b3" providerId="LiveId" clId="{BA778306-826B-4C7B-810A-FB4F688373C3}"/>
    <pc:docChg chg="modSld">
      <pc:chgData name="Aurelien Domont" userId="6da7715ce44349b3" providerId="LiveId" clId="{BA778306-826B-4C7B-810A-FB4F688373C3}" dt="2021-07-06T03:28:54.384" v="15" actId="1035"/>
      <pc:docMkLst>
        <pc:docMk/>
      </pc:docMkLst>
      <pc:sldChg chg="modSp mod">
        <pc:chgData name="Aurelien Domont" userId="6da7715ce44349b3" providerId="LiveId" clId="{BA778306-826B-4C7B-810A-FB4F688373C3}" dt="2021-07-06T03:28:54.384" v="15" actId="1035"/>
        <pc:sldMkLst>
          <pc:docMk/>
          <pc:sldMk cId="3072119178" sldId="1488"/>
        </pc:sldMkLst>
        <pc:spChg chg="mod">
          <ac:chgData name="Aurelien Domont" userId="6da7715ce44349b3" providerId="LiveId" clId="{BA778306-826B-4C7B-810A-FB4F688373C3}" dt="2021-07-06T03:28:54.384" v="15" actId="1035"/>
          <ac:spMkLst>
            <pc:docMk/>
            <pc:sldMk cId="3072119178" sldId="1488"/>
            <ac:spMk id="16" creationId="{6C2BB713-9637-4B9B-938F-E9768876782A}"/>
          </ac:spMkLst>
        </pc:spChg>
      </pc:sldChg>
      <pc:sldChg chg="modSp mod">
        <pc:chgData name="Aurelien Domont" userId="6da7715ce44349b3" providerId="LiveId" clId="{BA778306-826B-4C7B-810A-FB4F688373C3}" dt="2021-07-06T03:27:30.167" v="11" actId="1035"/>
        <pc:sldMkLst>
          <pc:docMk/>
          <pc:sldMk cId="1133781032" sldId="1675"/>
        </pc:sldMkLst>
        <pc:spChg chg="mod">
          <ac:chgData name="Aurelien Domont" userId="6da7715ce44349b3" providerId="LiveId" clId="{BA778306-826B-4C7B-810A-FB4F688373C3}" dt="2021-07-06T03:27:30.167" v="11" actId="1035"/>
          <ac:spMkLst>
            <pc:docMk/>
            <pc:sldMk cId="1133781032" sldId="1675"/>
            <ac:spMk id="27" creationId="{2107B03F-BE63-4D09-8DFA-2211271C6CEC}"/>
          </ac:spMkLst>
        </pc:spChg>
      </pc:sldChg>
    </pc:docChg>
  </pc:docChgLst>
  <pc:docChgLst>
    <pc:chgData name="Aurelien Domont" userId="6da7715ce44349b3" providerId="LiveId" clId="{FC254C3F-0DA2-4768-8E5C-80D9632154D7}"/>
    <pc:docChg chg="undo redo custSel addSld delSld modSld">
      <pc:chgData name="Aurelien Domont" userId="6da7715ce44349b3" providerId="LiveId" clId="{FC254C3F-0DA2-4768-8E5C-80D9632154D7}" dt="2021-05-26T03:48:30.244" v="6934" actId="1036"/>
      <pc:docMkLst>
        <pc:docMk/>
      </pc:docMkLst>
      <pc:sldChg chg="modSp mod">
        <pc:chgData name="Aurelien Domont" userId="6da7715ce44349b3" providerId="LiveId" clId="{FC254C3F-0DA2-4768-8E5C-80D9632154D7}" dt="2021-05-19T07:29:02.992" v="0"/>
        <pc:sldMkLst>
          <pc:docMk/>
          <pc:sldMk cId="3131901387" sldId="256"/>
        </pc:sldMkLst>
        <pc:spChg chg="mod">
          <ac:chgData name="Aurelien Domont" userId="6da7715ce44349b3" providerId="LiveId" clId="{FC254C3F-0DA2-4768-8E5C-80D9632154D7}" dt="2021-05-19T07:29:02.992" v="0"/>
          <ac:spMkLst>
            <pc:docMk/>
            <pc:sldMk cId="3131901387" sldId="256"/>
            <ac:spMk id="2" creationId="{5261080C-C60C-4746-B6B1-A9A4FFA86785}"/>
          </ac:spMkLst>
        </pc:spChg>
      </pc:sldChg>
      <pc:sldChg chg="add">
        <pc:chgData name="Aurelien Domont" userId="6da7715ce44349b3" providerId="LiveId" clId="{FC254C3F-0DA2-4768-8E5C-80D9632154D7}" dt="2021-05-21T05:18:17.966" v="6306"/>
        <pc:sldMkLst>
          <pc:docMk/>
          <pc:sldMk cId="3717827458" sldId="1557"/>
        </pc:sldMkLst>
      </pc:sldChg>
      <pc:sldChg chg="add del">
        <pc:chgData name="Aurelien Domont" userId="6da7715ce44349b3" providerId="LiveId" clId="{FC254C3F-0DA2-4768-8E5C-80D9632154D7}" dt="2021-05-21T05:20:16.738" v="6364" actId="47"/>
        <pc:sldMkLst>
          <pc:docMk/>
          <pc:sldMk cId="1563821867" sldId="1558"/>
        </pc:sldMkLst>
      </pc:sldChg>
      <pc:sldChg chg="add del">
        <pc:chgData name="Aurelien Domont" userId="6da7715ce44349b3" providerId="LiveId" clId="{FC254C3F-0DA2-4768-8E5C-80D9632154D7}" dt="2021-05-21T05:20:18.032" v="6365" actId="47"/>
        <pc:sldMkLst>
          <pc:docMk/>
          <pc:sldMk cId="3714485705" sldId="1559"/>
        </pc:sldMkLst>
      </pc:sldChg>
      <pc:sldChg chg="add del">
        <pc:chgData name="Aurelien Domont" userId="6da7715ce44349b3" providerId="LiveId" clId="{FC254C3F-0DA2-4768-8E5C-80D9632154D7}" dt="2021-05-21T05:20:23.596" v="6366" actId="47"/>
        <pc:sldMkLst>
          <pc:docMk/>
          <pc:sldMk cId="1395428385" sldId="1560"/>
        </pc:sldMkLst>
      </pc:sldChg>
      <pc:sldChg chg="add del">
        <pc:chgData name="Aurelien Domont" userId="6da7715ce44349b3" providerId="LiveId" clId="{FC254C3F-0DA2-4768-8E5C-80D9632154D7}" dt="2021-05-21T05:20:24.621" v="6367" actId="47"/>
        <pc:sldMkLst>
          <pc:docMk/>
          <pc:sldMk cId="1374354552" sldId="1561"/>
        </pc:sldMkLst>
      </pc:sldChg>
      <pc:sldChg chg="add">
        <pc:chgData name="Aurelien Domont" userId="6da7715ce44349b3" providerId="LiveId" clId="{FC254C3F-0DA2-4768-8E5C-80D9632154D7}" dt="2021-05-21T05:18:17.966" v="6306"/>
        <pc:sldMkLst>
          <pc:docMk/>
          <pc:sldMk cId="2317062444" sldId="1562"/>
        </pc:sldMkLst>
      </pc:sldChg>
      <pc:sldChg chg="add">
        <pc:chgData name="Aurelien Domont" userId="6da7715ce44349b3" providerId="LiveId" clId="{FC254C3F-0DA2-4768-8E5C-80D9632154D7}" dt="2021-05-21T05:18:17.966" v="6306"/>
        <pc:sldMkLst>
          <pc:docMk/>
          <pc:sldMk cId="3132763004" sldId="1563"/>
        </pc:sldMkLst>
      </pc:sldChg>
      <pc:sldChg chg="add del">
        <pc:chgData name="Aurelien Domont" userId="6da7715ce44349b3" providerId="LiveId" clId="{FC254C3F-0DA2-4768-8E5C-80D9632154D7}" dt="2021-05-21T05:20:33.021" v="6368" actId="47"/>
        <pc:sldMkLst>
          <pc:docMk/>
          <pc:sldMk cId="2403579107" sldId="1564"/>
        </pc:sldMkLst>
      </pc:sldChg>
      <pc:sldChg chg="add del">
        <pc:chgData name="Aurelien Domont" userId="6da7715ce44349b3" providerId="LiveId" clId="{FC254C3F-0DA2-4768-8E5C-80D9632154D7}" dt="2021-05-21T05:20:39.245" v="6369" actId="47"/>
        <pc:sldMkLst>
          <pc:docMk/>
          <pc:sldMk cId="4129558631" sldId="1565"/>
        </pc:sldMkLst>
      </pc:sldChg>
      <pc:sldChg chg="add">
        <pc:chgData name="Aurelien Domont" userId="6da7715ce44349b3" providerId="LiveId" clId="{FC254C3F-0DA2-4768-8E5C-80D9632154D7}" dt="2021-05-21T05:18:17.966" v="6306"/>
        <pc:sldMkLst>
          <pc:docMk/>
          <pc:sldMk cId="3562844070" sldId="1567"/>
        </pc:sldMkLst>
      </pc:sldChg>
      <pc:sldChg chg="add">
        <pc:chgData name="Aurelien Domont" userId="6da7715ce44349b3" providerId="LiveId" clId="{FC254C3F-0DA2-4768-8E5C-80D9632154D7}" dt="2021-05-21T05:18:17.966" v="6306"/>
        <pc:sldMkLst>
          <pc:docMk/>
          <pc:sldMk cId="2606253982" sldId="1568"/>
        </pc:sldMkLst>
      </pc:sldChg>
      <pc:sldChg chg="add">
        <pc:chgData name="Aurelien Domont" userId="6da7715ce44349b3" providerId="LiveId" clId="{FC254C3F-0DA2-4768-8E5C-80D9632154D7}" dt="2021-05-21T05:18:17.966" v="6306"/>
        <pc:sldMkLst>
          <pc:docMk/>
          <pc:sldMk cId="705146496" sldId="1569"/>
        </pc:sldMkLst>
      </pc:sldChg>
      <pc:sldChg chg="add">
        <pc:chgData name="Aurelien Domont" userId="6da7715ce44349b3" providerId="LiveId" clId="{FC254C3F-0DA2-4768-8E5C-80D9632154D7}" dt="2021-05-21T05:18:17.966" v="6306"/>
        <pc:sldMkLst>
          <pc:docMk/>
          <pc:sldMk cId="4209253123" sldId="1570"/>
        </pc:sldMkLst>
      </pc:sldChg>
      <pc:sldChg chg="add">
        <pc:chgData name="Aurelien Domont" userId="6da7715ce44349b3" providerId="LiveId" clId="{FC254C3F-0DA2-4768-8E5C-80D9632154D7}" dt="2021-05-21T05:18:17.966" v="6306"/>
        <pc:sldMkLst>
          <pc:docMk/>
          <pc:sldMk cId="548172080" sldId="1571"/>
        </pc:sldMkLst>
      </pc:sldChg>
      <pc:sldChg chg="add del">
        <pc:chgData name="Aurelien Domont" userId="6da7715ce44349b3" providerId="LiveId" clId="{FC254C3F-0DA2-4768-8E5C-80D9632154D7}" dt="2021-05-21T05:20:40.648" v="6370" actId="47"/>
        <pc:sldMkLst>
          <pc:docMk/>
          <pc:sldMk cId="3565364508" sldId="1667"/>
        </pc:sldMkLst>
      </pc:sldChg>
      <pc:sldChg chg="modSp add mod">
        <pc:chgData name="Aurelien Domont" userId="6da7715ce44349b3" providerId="LiveId" clId="{FC254C3F-0DA2-4768-8E5C-80D9632154D7}" dt="2021-05-20T05:07:38.313" v="2299"/>
        <pc:sldMkLst>
          <pc:docMk/>
          <pc:sldMk cId="2644303535" sldId="1668"/>
        </pc:sldMkLst>
        <pc:spChg chg="mod">
          <ac:chgData name="Aurelien Domont" userId="6da7715ce44349b3" providerId="LiveId" clId="{FC254C3F-0DA2-4768-8E5C-80D9632154D7}" dt="2021-05-20T05:07:38.313" v="2299"/>
          <ac:spMkLst>
            <pc:docMk/>
            <pc:sldMk cId="2644303535" sldId="1668"/>
            <ac:spMk id="16" creationId="{6C2BB713-9637-4B9B-938F-E9768876782A}"/>
          </ac:spMkLst>
        </pc:spChg>
        <pc:spChg chg="mod">
          <ac:chgData name="Aurelien Domont" userId="6da7715ce44349b3" providerId="LiveId" clId="{FC254C3F-0DA2-4768-8E5C-80D9632154D7}" dt="2021-05-20T04:17:23.454" v="329"/>
          <ac:spMkLst>
            <pc:docMk/>
            <pc:sldMk cId="2644303535" sldId="1668"/>
            <ac:spMk id="20" creationId="{362164A1-5341-42AC-9B30-4F8CD419751C}"/>
          </ac:spMkLst>
        </pc:spChg>
        <pc:spChg chg="mod">
          <ac:chgData name="Aurelien Domont" userId="6da7715ce44349b3" providerId="LiveId" clId="{FC254C3F-0DA2-4768-8E5C-80D9632154D7}" dt="2021-05-20T04:17:52.536" v="332"/>
          <ac:spMkLst>
            <pc:docMk/>
            <pc:sldMk cId="2644303535" sldId="1668"/>
            <ac:spMk id="22" creationId="{A761C647-4E6D-4247-832C-123F42A345DF}"/>
          </ac:spMkLst>
        </pc:spChg>
        <pc:spChg chg="mod">
          <ac:chgData name="Aurelien Domont" userId="6da7715ce44349b3" providerId="LiveId" clId="{FC254C3F-0DA2-4768-8E5C-80D9632154D7}" dt="2021-05-20T04:17:55.181" v="333"/>
          <ac:spMkLst>
            <pc:docMk/>
            <pc:sldMk cId="2644303535" sldId="1668"/>
            <ac:spMk id="38" creationId="{9154E016-91D3-424E-A420-78147246AA84}"/>
          </ac:spMkLst>
        </pc:spChg>
      </pc:sldChg>
      <pc:sldChg chg="del">
        <pc:chgData name="Aurelien Domont" userId="6da7715ce44349b3" providerId="LiveId" clId="{FC254C3F-0DA2-4768-8E5C-80D9632154D7}" dt="2021-05-19T07:29:14.222" v="1" actId="47"/>
        <pc:sldMkLst>
          <pc:docMk/>
          <pc:sldMk cId="317099162" sldId="1749"/>
        </pc:sldMkLst>
      </pc:sldChg>
      <pc:sldChg chg="addSp delSp modSp del mod">
        <pc:chgData name="Aurelien Domont" userId="6da7715ce44349b3" providerId="LiveId" clId="{FC254C3F-0DA2-4768-8E5C-80D9632154D7}" dt="2021-05-19T07:34:09.926" v="116" actId="47"/>
        <pc:sldMkLst>
          <pc:docMk/>
          <pc:sldMk cId="1659127470" sldId="1924"/>
        </pc:sldMkLst>
        <pc:spChg chg="mod">
          <ac:chgData name="Aurelien Domont" userId="6da7715ce44349b3" providerId="LiveId" clId="{FC254C3F-0DA2-4768-8E5C-80D9632154D7}" dt="2021-05-19T07:30:52.444" v="86" actId="3064"/>
          <ac:spMkLst>
            <pc:docMk/>
            <pc:sldMk cId="1659127470" sldId="1924"/>
            <ac:spMk id="17" creationId="{469F466A-B940-41E3-B12F-110D72502BCE}"/>
          </ac:spMkLst>
        </pc:spChg>
        <pc:spChg chg="mod">
          <ac:chgData name="Aurelien Domont" userId="6da7715ce44349b3" providerId="LiveId" clId="{FC254C3F-0DA2-4768-8E5C-80D9632154D7}" dt="2021-05-19T07:31:02.239" v="89" actId="3064"/>
          <ac:spMkLst>
            <pc:docMk/>
            <pc:sldMk cId="1659127470" sldId="1924"/>
            <ac:spMk id="20" creationId="{3A4E6A8C-908C-49FF-9BF8-90A9FC12224D}"/>
          </ac:spMkLst>
        </pc:spChg>
        <pc:spChg chg="mod">
          <ac:chgData name="Aurelien Domont" userId="6da7715ce44349b3" providerId="LiveId" clId="{FC254C3F-0DA2-4768-8E5C-80D9632154D7}" dt="2021-05-19T07:31:05.450" v="92" actId="3064"/>
          <ac:spMkLst>
            <pc:docMk/>
            <pc:sldMk cId="1659127470" sldId="1924"/>
            <ac:spMk id="21" creationId="{16FAC062-BB56-4A49-9044-4444E78429DF}"/>
          </ac:spMkLst>
        </pc:spChg>
        <pc:cxnChg chg="add mod">
          <ac:chgData name="Aurelien Domont" userId="6da7715ce44349b3" providerId="LiveId" clId="{FC254C3F-0DA2-4768-8E5C-80D9632154D7}" dt="2021-05-19T07:31:53.513" v="108" actId="1038"/>
          <ac:cxnSpMkLst>
            <pc:docMk/>
            <pc:sldMk cId="1659127470" sldId="1924"/>
            <ac:cxnSpMk id="14" creationId="{8AF311F1-81EB-4B55-BE8A-132238822DBA}"/>
          </ac:cxnSpMkLst>
        </pc:cxnChg>
        <pc:cxnChg chg="del">
          <ac:chgData name="Aurelien Domont" userId="6da7715ce44349b3" providerId="LiveId" clId="{FC254C3F-0DA2-4768-8E5C-80D9632154D7}" dt="2021-05-19T07:31:46.749" v="103" actId="478"/>
          <ac:cxnSpMkLst>
            <pc:docMk/>
            <pc:sldMk cId="1659127470" sldId="1924"/>
            <ac:cxnSpMk id="15" creationId="{E60236D9-FA17-46A1-923E-EAFAC3847145}"/>
          </ac:cxnSpMkLst>
        </pc:cxnChg>
        <pc:cxnChg chg="mod">
          <ac:chgData name="Aurelien Domont" userId="6da7715ce44349b3" providerId="LiveId" clId="{FC254C3F-0DA2-4768-8E5C-80D9632154D7}" dt="2021-05-19T07:31:41.619" v="102" actId="14100"/>
          <ac:cxnSpMkLst>
            <pc:docMk/>
            <pc:sldMk cId="1659127470" sldId="1924"/>
            <ac:cxnSpMk id="22" creationId="{8F214CF9-01D2-40DC-9D6F-DAC675E238D0}"/>
          </ac:cxnSpMkLst>
        </pc:cxnChg>
      </pc:sldChg>
      <pc:sldChg chg="addSp modSp add mod">
        <pc:chgData name="Aurelien Domont" userId="6da7715ce44349b3" providerId="LiveId" clId="{FC254C3F-0DA2-4768-8E5C-80D9632154D7}" dt="2021-05-21T05:36:04.331" v="6672" actId="790"/>
        <pc:sldMkLst>
          <pc:docMk/>
          <pc:sldMk cId="597933806" sldId="1925"/>
        </pc:sldMkLst>
        <pc:spChg chg="mod">
          <ac:chgData name="Aurelien Domont" userId="6da7715ce44349b3" providerId="LiveId" clId="{FC254C3F-0DA2-4768-8E5C-80D9632154D7}" dt="2021-05-21T05:18:49.626" v="6309"/>
          <ac:spMkLst>
            <pc:docMk/>
            <pc:sldMk cId="597933806" sldId="1925"/>
            <ac:spMk id="16" creationId="{6C2BB713-9637-4B9B-938F-E9768876782A}"/>
          </ac:spMkLst>
        </pc:spChg>
        <pc:spChg chg="add mod">
          <ac:chgData name="Aurelien Domont" userId="6da7715ce44349b3" providerId="LiveId" clId="{FC254C3F-0DA2-4768-8E5C-80D9632154D7}" dt="2021-05-21T05:36:04.331" v="6672" actId="790"/>
          <ac:spMkLst>
            <pc:docMk/>
            <pc:sldMk cId="597933806" sldId="1925"/>
            <ac:spMk id="22" creationId="{7AEEE1DB-4711-4CCE-8742-65DB0C1C9720}"/>
          </ac:spMkLst>
        </pc:spChg>
      </pc:sldChg>
      <pc:sldChg chg="addSp delSp modSp add mod">
        <pc:chgData name="Aurelien Domont" userId="6da7715ce44349b3" providerId="LiveId" clId="{FC254C3F-0DA2-4768-8E5C-80D9632154D7}" dt="2021-05-21T05:20:07.528" v="6362"/>
        <pc:sldMkLst>
          <pc:docMk/>
          <pc:sldMk cId="317604876" sldId="1935"/>
        </pc:sldMkLst>
        <pc:spChg chg="mod">
          <ac:chgData name="Aurelien Domont" userId="6da7715ce44349b3" providerId="LiveId" clId="{FC254C3F-0DA2-4768-8E5C-80D9632154D7}" dt="2021-05-21T05:18:40.174" v="6307"/>
          <ac:spMkLst>
            <pc:docMk/>
            <pc:sldMk cId="317604876" sldId="1935"/>
            <ac:spMk id="16" creationId="{6C2BB713-9637-4B9B-938F-E9768876782A}"/>
          </ac:spMkLst>
        </pc:spChg>
        <pc:spChg chg="del">
          <ac:chgData name="Aurelien Domont" userId="6da7715ce44349b3" providerId="LiveId" clId="{FC254C3F-0DA2-4768-8E5C-80D9632154D7}" dt="2021-05-21T05:20:03.136" v="6361" actId="478"/>
          <ac:spMkLst>
            <pc:docMk/>
            <pc:sldMk cId="317604876" sldId="1935"/>
            <ac:spMk id="31" creationId="{F2910152-26EA-4A4F-A548-F391FBF15EFE}"/>
          </ac:spMkLst>
        </pc:spChg>
        <pc:spChg chg="add mod">
          <ac:chgData name="Aurelien Domont" userId="6da7715ce44349b3" providerId="LiveId" clId="{FC254C3F-0DA2-4768-8E5C-80D9632154D7}" dt="2021-05-21T05:20:07.528" v="6362"/>
          <ac:spMkLst>
            <pc:docMk/>
            <pc:sldMk cId="317604876" sldId="1935"/>
            <ac:spMk id="32" creationId="{E6DB8426-07F9-4F36-8F9C-EF53BA3CAC3C}"/>
          </ac:spMkLst>
        </pc:spChg>
      </pc:sldChg>
      <pc:sldChg chg="addSp modSp add mod">
        <pc:chgData name="Aurelien Domont" userId="6da7715ce44349b3" providerId="LiveId" clId="{FC254C3F-0DA2-4768-8E5C-80D9632154D7}" dt="2021-05-21T05:20:09.453" v="6363"/>
        <pc:sldMkLst>
          <pc:docMk/>
          <pc:sldMk cId="460632394" sldId="2035"/>
        </pc:sldMkLst>
        <pc:spChg chg="mod">
          <ac:chgData name="Aurelien Domont" userId="6da7715ce44349b3" providerId="LiveId" clId="{FC254C3F-0DA2-4768-8E5C-80D9632154D7}" dt="2021-05-21T05:19:58.760" v="6360" actId="20577"/>
          <ac:spMkLst>
            <pc:docMk/>
            <pc:sldMk cId="460632394" sldId="2035"/>
            <ac:spMk id="16" creationId="{6C2BB713-9637-4B9B-938F-E9768876782A}"/>
          </ac:spMkLst>
        </pc:spChg>
        <pc:spChg chg="add mod">
          <ac:chgData name="Aurelien Domont" userId="6da7715ce44349b3" providerId="LiveId" clId="{FC254C3F-0DA2-4768-8E5C-80D9632154D7}" dt="2021-05-21T05:20:09.453" v="6363"/>
          <ac:spMkLst>
            <pc:docMk/>
            <pc:sldMk cId="460632394" sldId="2035"/>
            <ac:spMk id="30" creationId="{98B34461-5CBC-4FD1-A323-A10363C0B01C}"/>
          </ac:spMkLst>
        </pc:spChg>
      </pc:sldChg>
      <pc:sldChg chg="addSp delSp modSp add mod">
        <pc:chgData name="Aurelien Domont" userId="6da7715ce44349b3" providerId="LiveId" clId="{FC254C3F-0DA2-4768-8E5C-80D9632154D7}" dt="2021-05-26T03:43:37.829" v="6812" actId="478"/>
        <pc:sldMkLst>
          <pc:docMk/>
          <pc:sldMk cId="1454614553" sldId="2150"/>
        </pc:sldMkLst>
        <pc:spChg chg="add del mod">
          <ac:chgData name="Aurelien Domont" userId="6da7715ce44349b3" providerId="LiveId" clId="{FC254C3F-0DA2-4768-8E5C-80D9632154D7}" dt="2021-05-26T03:43:37.829" v="6812" actId="478"/>
          <ac:spMkLst>
            <pc:docMk/>
            <pc:sldMk cId="1454614553" sldId="2150"/>
            <ac:spMk id="2" creationId="{26686994-57E5-44DB-9E32-9CBED64B8154}"/>
          </ac:spMkLst>
        </pc:spChg>
        <pc:spChg chg="add mod">
          <ac:chgData name="Aurelien Domont" userId="6da7715ce44349b3" providerId="LiveId" clId="{FC254C3F-0DA2-4768-8E5C-80D9632154D7}" dt="2021-05-19T07:32:48.488" v="112" actId="207"/>
          <ac:spMkLst>
            <pc:docMk/>
            <pc:sldMk cId="1454614553" sldId="2150"/>
            <ac:spMk id="14" creationId="{36A26ACC-668A-45EB-AB81-A5D2319F44E0}"/>
          </ac:spMkLst>
        </pc:spChg>
        <pc:spChg chg="mod">
          <ac:chgData name="Aurelien Domont" userId="6da7715ce44349b3" providerId="LiveId" clId="{FC254C3F-0DA2-4768-8E5C-80D9632154D7}" dt="2021-05-19T07:35:26.873" v="180" actId="14100"/>
          <ac:spMkLst>
            <pc:docMk/>
            <pc:sldMk cId="1454614553" sldId="2150"/>
            <ac:spMk id="16" creationId="{6C2BB713-9637-4B9B-938F-E9768876782A}"/>
          </ac:spMkLst>
        </pc:spChg>
        <pc:spChg chg="del mod">
          <ac:chgData name="Aurelien Domont" userId="6da7715ce44349b3" providerId="LiveId" clId="{FC254C3F-0DA2-4768-8E5C-80D9632154D7}" dt="2021-05-19T07:32:07.388" v="109" actId="478"/>
          <ac:spMkLst>
            <pc:docMk/>
            <pc:sldMk cId="1454614553" sldId="2150"/>
            <ac:spMk id="17" creationId="{469F466A-B940-41E3-B12F-110D72502BCE}"/>
          </ac:spMkLst>
        </pc:spChg>
        <pc:spChg chg="add mod">
          <ac:chgData name="Aurelien Domont" userId="6da7715ce44349b3" providerId="LiveId" clId="{FC254C3F-0DA2-4768-8E5C-80D9632154D7}" dt="2021-05-19T07:32:09.679" v="111"/>
          <ac:spMkLst>
            <pc:docMk/>
            <pc:sldMk cId="1454614553" sldId="2150"/>
            <ac:spMk id="18" creationId="{9A832821-28E7-48AC-A8A2-089BEA8CDC39}"/>
          </ac:spMkLst>
        </pc:spChg>
        <pc:spChg chg="add mod">
          <ac:chgData name="Aurelien Domont" userId="6da7715ce44349b3" providerId="LiveId" clId="{FC254C3F-0DA2-4768-8E5C-80D9632154D7}" dt="2021-05-19T07:32:09.679" v="111"/>
          <ac:spMkLst>
            <pc:docMk/>
            <pc:sldMk cId="1454614553" sldId="2150"/>
            <ac:spMk id="19" creationId="{F6B03F74-2EBD-489D-B3D9-985345DDBB2F}"/>
          </ac:spMkLst>
        </pc:spChg>
        <pc:spChg chg="del mod">
          <ac:chgData name="Aurelien Domont" userId="6da7715ce44349b3" providerId="LiveId" clId="{FC254C3F-0DA2-4768-8E5C-80D9632154D7}" dt="2021-05-19T07:32:07.388" v="109" actId="478"/>
          <ac:spMkLst>
            <pc:docMk/>
            <pc:sldMk cId="1454614553" sldId="2150"/>
            <ac:spMk id="20" creationId="{3A4E6A8C-908C-49FF-9BF8-90A9FC12224D}"/>
          </ac:spMkLst>
        </pc:spChg>
        <pc:spChg chg="del mod">
          <ac:chgData name="Aurelien Domont" userId="6da7715ce44349b3" providerId="LiveId" clId="{FC254C3F-0DA2-4768-8E5C-80D9632154D7}" dt="2021-05-19T07:32:07.388" v="109" actId="478"/>
          <ac:spMkLst>
            <pc:docMk/>
            <pc:sldMk cId="1454614553" sldId="2150"/>
            <ac:spMk id="21" creationId="{16FAC062-BB56-4A49-9044-4444E78429DF}"/>
          </ac:spMkLst>
        </pc:spChg>
        <pc:spChg chg="del">
          <ac:chgData name="Aurelien Domont" userId="6da7715ce44349b3" providerId="LiveId" clId="{FC254C3F-0DA2-4768-8E5C-80D9632154D7}" dt="2021-05-19T07:32:07.388" v="109" actId="478"/>
          <ac:spMkLst>
            <pc:docMk/>
            <pc:sldMk cId="1454614553" sldId="2150"/>
            <ac:spMk id="24" creationId="{95714746-22CF-48C5-AD51-9D9AE6E5F2C8}"/>
          </ac:spMkLst>
        </pc:spChg>
        <pc:spChg chg="del">
          <ac:chgData name="Aurelien Domont" userId="6da7715ce44349b3" providerId="LiveId" clId="{FC254C3F-0DA2-4768-8E5C-80D9632154D7}" dt="2021-05-19T07:32:09.272" v="110" actId="478"/>
          <ac:spMkLst>
            <pc:docMk/>
            <pc:sldMk cId="1454614553" sldId="2150"/>
            <ac:spMk id="25" creationId="{0B462317-12E0-4745-AFEC-1DF156C5EB17}"/>
          </ac:spMkLst>
        </pc:spChg>
        <pc:spChg chg="add mod">
          <ac:chgData name="Aurelien Domont" userId="6da7715ce44349b3" providerId="LiveId" clId="{FC254C3F-0DA2-4768-8E5C-80D9632154D7}" dt="2021-05-21T05:31:16.011" v="6618" actId="20577"/>
          <ac:spMkLst>
            <pc:docMk/>
            <pc:sldMk cId="1454614553" sldId="2150"/>
            <ac:spMk id="26" creationId="{C340F2EE-BA16-482F-BFE4-F0465F9C2085}"/>
          </ac:spMkLst>
        </pc:spChg>
        <pc:spChg chg="add mod">
          <ac:chgData name="Aurelien Domont" userId="6da7715ce44349b3" providerId="LiveId" clId="{FC254C3F-0DA2-4768-8E5C-80D9632154D7}" dt="2021-05-19T07:32:09.679" v="111"/>
          <ac:spMkLst>
            <pc:docMk/>
            <pc:sldMk cId="1454614553" sldId="2150"/>
            <ac:spMk id="27" creationId="{BE7FA4F0-3C49-4DE0-BDCC-49225B7F31CF}"/>
          </ac:spMkLst>
        </pc:spChg>
        <pc:spChg chg="del">
          <ac:chgData name="Aurelien Domont" userId="6da7715ce44349b3" providerId="LiveId" clId="{FC254C3F-0DA2-4768-8E5C-80D9632154D7}" dt="2021-05-19T07:32:07.388" v="109" actId="478"/>
          <ac:spMkLst>
            <pc:docMk/>
            <pc:sldMk cId="1454614553" sldId="2150"/>
            <ac:spMk id="28" creationId="{46F541B2-19A4-48FE-BC36-F95AB3359448}"/>
          </ac:spMkLst>
        </pc:spChg>
        <pc:spChg chg="add mod">
          <ac:chgData name="Aurelien Domont" userId="6da7715ce44349b3" providerId="LiveId" clId="{FC254C3F-0DA2-4768-8E5C-80D9632154D7}" dt="2021-05-21T05:29:16.766" v="6606"/>
          <ac:spMkLst>
            <pc:docMk/>
            <pc:sldMk cId="1454614553" sldId="2150"/>
            <ac:spMk id="29" creationId="{EBEF7E50-77EE-4FFC-9C8F-5F1C532B51AE}"/>
          </ac:spMkLst>
        </pc:spChg>
        <pc:spChg chg="add del mod ord">
          <ac:chgData name="Aurelien Domont" userId="6da7715ce44349b3" providerId="LiveId" clId="{FC254C3F-0DA2-4768-8E5C-80D9632154D7}" dt="2021-05-19T07:34:22.049" v="118" actId="478"/>
          <ac:spMkLst>
            <pc:docMk/>
            <pc:sldMk cId="1454614553" sldId="2150"/>
            <ac:spMk id="31" creationId="{4718F1EB-0A8B-495A-9DBB-755E2C25FCAC}"/>
          </ac:spMkLst>
        </pc:spChg>
        <pc:cxnChg chg="del">
          <ac:chgData name="Aurelien Domont" userId="6da7715ce44349b3" providerId="LiveId" clId="{FC254C3F-0DA2-4768-8E5C-80D9632154D7}" dt="2021-05-19T07:32:07.388" v="109" actId="478"/>
          <ac:cxnSpMkLst>
            <pc:docMk/>
            <pc:sldMk cId="1454614553" sldId="2150"/>
            <ac:cxnSpMk id="15" creationId="{E60236D9-FA17-46A1-923E-EAFAC3847145}"/>
          </ac:cxnSpMkLst>
        </pc:cxnChg>
        <pc:cxnChg chg="del">
          <ac:chgData name="Aurelien Domont" userId="6da7715ce44349b3" providerId="LiveId" clId="{FC254C3F-0DA2-4768-8E5C-80D9632154D7}" dt="2021-05-19T07:32:07.388" v="109" actId="478"/>
          <ac:cxnSpMkLst>
            <pc:docMk/>
            <pc:sldMk cId="1454614553" sldId="2150"/>
            <ac:cxnSpMk id="22" creationId="{8F214CF9-01D2-40DC-9D6F-DAC675E238D0}"/>
          </ac:cxnSpMkLst>
        </pc:cxnChg>
        <pc:cxnChg chg="add mod">
          <ac:chgData name="Aurelien Domont" userId="6da7715ce44349b3" providerId="LiveId" clId="{FC254C3F-0DA2-4768-8E5C-80D9632154D7}" dt="2021-05-19T07:32:09.679" v="111"/>
          <ac:cxnSpMkLst>
            <pc:docMk/>
            <pc:sldMk cId="1454614553" sldId="2150"/>
            <ac:cxnSpMk id="23" creationId="{9524914C-01E2-4876-AA5F-45B90B2C700C}"/>
          </ac:cxnSpMkLst>
        </pc:cxnChg>
        <pc:cxnChg chg="add mod">
          <ac:chgData name="Aurelien Domont" userId="6da7715ce44349b3" providerId="LiveId" clId="{FC254C3F-0DA2-4768-8E5C-80D9632154D7}" dt="2021-05-19T07:32:09.679" v="111"/>
          <ac:cxnSpMkLst>
            <pc:docMk/>
            <pc:sldMk cId="1454614553" sldId="2150"/>
            <ac:cxnSpMk id="30" creationId="{9E0C0224-1FC0-455B-98BE-E51330CE79E6}"/>
          </ac:cxnSpMkLst>
        </pc:cxnChg>
      </pc:sldChg>
      <pc:sldChg chg="modSp add del mod">
        <pc:chgData name="Aurelien Domont" userId="6da7715ce44349b3" providerId="LiveId" clId="{FC254C3F-0DA2-4768-8E5C-80D9632154D7}" dt="2021-05-26T03:44:09.635" v="6820" actId="47"/>
        <pc:sldMkLst>
          <pc:docMk/>
          <pc:sldMk cId="823145180" sldId="2151"/>
        </pc:sldMkLst>
        <pc:spChg chg="mod">
          <ac:chgData name="Aurelien Domont" userId="6da7715ce44349b3" providerId="LiveId" clId="{FC254C3F-0DA2-4768-8E5C-80D9632154D7}" dt="2021-05-19T07:34:40.939" v="151" actId="20577"/>
          <ac:spMkLst>
            <pc:docMk/>
            <pc:sldMk cId="823145180" sldId="2151"/>
            <ac:spMk id="16" creationId="{6C2BB713-9637-4B9B-938F-E9768876782A}"/>
          </ac:spMkLst>
        </pc:spChg>
        <pc:spChg chg="mod">
          <ac:chgData name="Aurelien Domont" userId="6da7715ce44349b3" providerId="LiveId" clId="{FC254C3F-0DA2-4768-8E5C-80D9632154D7}" dt="2021-05-19T07:34:49.487" v="152" actId="14100"/>
          <ac:spMkLst>
            <pc:docMk/>
            <pc:sldMk cId="823145180" sldId="2151"/>
            <ac:spMk id="31" creationId="{4718F1EB-0A8B-495A-9DBB-755E2C25FCAC}"/>
          </ac:spMkLst>
        </pc:spChg>
      </pc:sldChg>
      <pc:sldChg chg="add del">
        <pc:chgData name="Aurelien Domont" userId="6da7715ce44349b3" providerId="LiveId" clId="{FC254C3F-0DA2-4768-8E5C-80D9632154D7}" dt="2021-05-20T04:28:22.848" v="998" actId="47"/>
        <pc:sldMkLst>
          <pc:docMk/>
          <pc:sldMk cId="686820726" sldId="2152"/>
        </pc:sldMkLst>
      </pc:sldChg>
      <pc:sldChg chg="add del">
        <pc:chgData name="Aurelien Domont" userId="6da7715ce44349b3" providerId="LiveId" clId="{FC254C3F-0DA2-4768-8E5C-80D9632154D7}" dt="2021-05-20T04:18:54.096" v="338" actId="47"/>
        <pc:sldMkLst>
          <pc:docMk/>
          <pc:sldMk cId="301668990" sldId="2153"/>
        </pc:sldMkLst>
      </pc:sldChg>
      <pc:sldChg chg="addSp delSp modSp add mod">
        <pc:chgData name="Aurelien Domont" userId="6da7715ce44349b3" providerId="LiveId" clId="{FC254C3F-0DA2-4768-8E5C-80D9632154D7}" dt="2021-05-20T06:33:35.276" v="4344" actId="20577"/>
        <pc:sldMkLst>
          <pc:docMk/>
          <pc:sldMk cId="1834764109" sldId="2154"/>
        </pc:sldMkLst>
        <pc:spChg chg="add mod">
          <ac:chgData name="Aurelien Domont" userId="6da7715ce44349b3" providerId="LiveId" clId="{FC254C3F-0DA2-4768-8E5C-80D9632154D7}" dt="2021-05-20T04:27:12.229" v="865" actId="20577"/>
          <ac:spMkLst>
            <pc:docMk/>
            <pc:sldMk cId="1834764109" sldId="2154"/>
            <ac:spMk id="11" creationId="{371D8888-B10B-4998-9616-C86E06EA77CA}"/>
          </ac:spMkLst>
        </pc:spChg>
        <pc:spChg chg="add del mod">
          <ac:chgData name="Aurelien Domont" userId="6da7715ce44349b3" providerId="LiveId" clId="{FC254C3F-0DA2-4768-8E5C-80D9632154D7}" dt="2021-05-20T04:20:56.089" v="423" actId="478"/>
          <ac:spMkLst>
            <pc:docMk/>
            <pc:sldMk cId="1834764109" sldId="2154"/>
            <ac:spMk id="12" creationId="{1E16AFCE-D241-4B32-8588-69650253EA28}"/>
          </ac:spMkLst>
        </pc:spChg>
        <pc:spChg chg="add mod">
          <ac:chgData name="Aurelien Domont" userId="6da7715ce44349b3" providerId="LiveId" clId="{FC254C3F-0DA2-4768-8E5C-80D9632154D7}" dt="2021-05-20T06:33:35.276" v="4344" actId="20577"/>
          <ac:spMkLst>
            <pc:docMk/>
            <pc:sldMk cId="1834764109" sldId="2154"/>
            <ac:spMk id="14" creationId="{9CED0840-328D-4DCE-AD10-BB956B9ABC80}"/>
          </ac:spMkLst>
        </pc:spChg>
        <pc:spChg chg="add del mod">
          <ac:chgData name="Aurelien Domont" userId="6da7715ce44349b3" providerId="LiveId" clId="{FC254C3F-0DA2-4768-8E5C-80D9632154D7}" dt="2021-05-20T04:26:33.453" v="816" actId="478"/>
          <ac:spMkLst>
            <pc:docMk/>
            <pc:sldMk cId="1834764109" sldId="2154"/>
            <ac:spMk id="15" creationId="{AF66F315-68AB-4FD0-91D9-3BF38456303D}"/>
          </ac:spMkLst>
        </pc:spChg>
        <pc:spChg chg="mod">
          <ac:chgData name="Aurelien Domont" userId="6da7715ce44349b3" providerId="LiveId" clId="{FC254C3F-0DA2-4768-8E5C-80D9632154D7}" dt="2021-05-20T05:07:34.725" v="2298" actId="20577"/>
          <ac:spMkLst>
            <pc:docMk/>
            <pc:sldMk cId="1834764109" sldId="2154"/>
            <ac:spMk id="16" creationId="{6C2BB713-9637-4B9B-938F-E9768876782A}"/>
          </ac:spMkLst>
        </pc:spChg>
        <pc:spChg chg="add mod">
          <ac:chgData name="Aurelien Domont" userId="6da7715ce44349b3" providerId="LiveId" clId="{FC254C3F-0DA2-4768-8E5C-80D9632154D7}" dt="2021-05-20T04:28:00.703" v="986" actId="20577"/>
          <ac:spMkLst>
            <pc:docMk/>
            <pc:sldMk cId="1834764109" sldId="2154"/>
            <ac:spMk id="17" creationId="{87711988-7EBA-49BA-81DD-28BB5612F524}"/>
          </ac:spMkLst>
        </pc:spChg>
      </pc:sldChg>
      <pc:sldChg chg="addSp delSp modSp add mod">
        <pc:chgData name="Aurelien Domont" userId="6da7715ce44349b3" providerId="LiveId" clId="{FC254C3F-0DA2-4768-8E5C-80D9632154D7}" dt="2021-05-21T05:16:39.958" v="6301" actId="20577"/>
        <pc:sldMkLst>
          <pc:docMk/>
          <pc:sldMk cId="2346025138" sldId="2155"/>
        </pc:sldMkLst>
        <pc:spChg chg="add del mod">
          <ac:chgData name="Aurelien Domont" userId="6da7715ce44349b3" providerId="LiveId" clId="{FC254C3F-0DA2-4768-8E5C-80D9632154D7}" dt="2021-05-20T05:11:18.957" v="2372"/>
          <ac:spMkLst>
            <pc:docMk/>
            <pc:sldMk cId="2346025138" sldId="2155"/>
            <ac:spMk id="11" creationId="{847FAFE5-5358-40D4-9124-91AB800D3E9B}"/>
          </ac:spMkLst>
        </pc:spChg>
        <pc:spChg chg="add mod">
          <ac:chgData name="Aurelien Domont" userId="6da7715ce44349b3" providerId="LiveId" clId="{FC254C3F-0DA2-4768-8E5C-80D9632154D7}" dt="2021-05-20T06:41:08.714" v="4555" actId="1037"/>
          <ac:spMkLst>
            <pc:docMk/>
            <pc:sldMk cId="2346025138" sldId="2155"/>
            <ac:spMk id="12" creationId="{AEC3A11A-D585-4891-A7AB-E2CF58B637BD}"/>
          </ac:spMkLst>
        </pc:spChg>
        <pc:spChg chg="add mod">
          <ac:chgData name="Aurelien Domont" userId="6da7715ce44349b3" providerId="LiveId" clId="{FC254C3F-0DA2-4768-8E5C-80D9632154D7}" dt="2021-05-20T06:48:28.266" v="4747" actId="20577"/>
          <ac:spMkLst>
            <pc:docMk/>
            <pc:sldMk cId="2346025138" sldId="2155"/>
            <ac:spMk id="14" creationId="{AF2C9B93-915C-4105-9C97-819A28436820}"/>
          </ac:spMkLst>
        </pc:spChg>
        <pc:spChg chg="add mod">
          <ac:chgData name="Aurelien Domont" userId="6da7715ce44349b3" providerId="LiveId" clId="{FC254C3F-0DA2-4768-8E5C-80D9632154D7}" dt="2021-05-20T06:48:31.946" v="4748"/>
          <ac:spMkLst>
            <pc:docMk/>
            <pc:sldMk cId="2346025138" sldId="2155"/>
            <ac:spMk id="15" creationId="{6EBB799A-DD91-4C68-A23D-4F535C1DE6D0}"/>
          </ac:spMkLst>
        </pc:spChg>
        <pc:spChg chg="mod">
          <ac:chgData name="Aurelien Domont" userId="6da7715ce44349b3" providerId="LiveId" clId="{FC254C3F-0DA2-4768-8E5C-80D9632154D7}" dt="2021-05-21T05:16:39.958" v="6301" actId="20577"/>
          <ac:spMkLst>
            <pc:docMk/>
            <pc:sldMk cId="2346025138" sldId="2155"/>
            <ac:spMk id="16" creationId="{6C2BB713-9637-4B9B-938F-E9768876782A}"/>
          </ac:spMkLst>
        </pc:spChg>
        <pc:spChg chg="add mod">
          <ac:chgData name="Aurelien Domont" userId="6da7715ce44349b3" providerId="LiveId" clId="{FC254C3F-0DA2-4768-8E5C-80D9632154D7}" dt="2021-05-20T06:48:38.155" v="4751"/>
          <ac:spMkLst>
            <pc:docMk/>
            <pc:sldMk cId="2346025138" sldId="2155"/>
            <ac:spMk id="17" creationId="{CC6CAF77-0808-4A3C-A405-53BEB5C9BF32}"/>
          </ac:spMkLst>
        </pc:spChg>
        <pc:spChg chg="add mod">
          <ac:chgData name="Aurelien Domont" userId="6da7715ce44349b3" providerId="LiveId" clId="{FC254C3F-0DA2-4768-8E5C-80D9632154D7}" dt="2021-05-20T06:48:39.720" v="4752"/>
          <ac:spMkLst>
            <pc:docMk/>
            <pc:sldMk cId="2346025138" sldId="2155"/>
            <ac:spMk id="18" creationId="{03C8F5C1-E31C-4905-A68D-C6EAC402BE99}"/>
          </ac:spMkLst>
        </pc:spChg>
        <pc:spChg chg="del">
          <ac:chgData name="Aurelien Domont" userId="6da7715ce44349b3" providerId="LiveId" clId="{FC254C3F-0DA2-4768-8E5C-80D9632154D7}" dt="2021-05-20T04:30:10.155" v="1057" actId="478"/>
          <ac:spMkLst>
            <pc:docMk/>
            <pc:sldMk cId="2346025138" sldId="2155"/>
            <ac:spMk id="19" creationId="{3AA9EB7F-1B36-40BF-AD6F-03E9DD2EEF38}"/>
          </ac:spMkLst>
        </pc:spChg>
        <pc:spChg chg="del">
          <ac:chgData name="Aurelien Domont" userId="6da7715ce44349b3" providerId="LiveId" clId="{FC254C3F-0DA2-4768-8E5C-80D9632154D7}" dt="2021-05-20T04:30:10.155" v="1057" actId="478"/>
          <ac:spMkLst>
            <pc:docMk/>
            <pc:sldMk cId="2346025138" sldId="2155"/>
            <ac:spMk id="20" creationId="{362164A1-5341-42AC-9B30-4F8CD419751C}"/>
          </ac:spMkLst>
        </pc:spChg>
        <pc:spChg chg="del">
          <ac:chgData name="Aurelien Domont" userId="6da7715ce44349b3" providerId="LiveId" clId="{FC254C3F-0DA2-4768-8E5C-80D9632154D7}" dt="2021-05-20T04:30:10.155" v="1057" actId="478"/>
          <ac:spMkLst>
            <pc:docMk/>
            <pc:sldMk cId="2346025138" sldId="2155"/>
            <ac:spMk id="21" creationId="{8C0E48F5-72EC-402E-A6AD-C9C98E8F1032}"/>
          </ac:spMkLst>
        </pc:spChg>
        <pc:spChg chg="del">
          <ac:chgData name="Aurelien Domont" userId="6da7715ce44349b3" providerId="LiveId" clId="{FC254C3F-0DA2-4768-8E5C-80D9632154D7}" dt="2021-05-20T04:30:10.155" v="1057" actId="478"/>
          <ac:spMkLst>
            <pc:docMk/>
            <pc:sldMk cId="2346025138" sldId="2155"/>
            <ac:spMk id="22" creationId="{A761C647-4E6D-4247-832C-123F42A345DF}"/>
          </ac:spMkLst>
        </pc:spChg>
        <pc:spChg chg="del">
          <ac:chgData name="Aurelien Domont" userId="6da7715ce44349b3" providerId="LiveId" clId="{FC254C3F-0DA2-4768-8E5C-80D9632154D7}" dt="2021-05-20T04:30:10.155" v="1057" actId="478"/>
          <ac:spMkLst>
            <pc:docMk/>
            <pc:sldMk cId="2346025138" sldId="2155"/>
            <ac:spMk id="23" creationId="{BBBB2D5B-42A4-4DA3-8613-84688130AA74}"/>
          </ac:spMkLst>
        </pc:spChg>
        <pc:spChg chg="add mod">
          <ac:chgData name="Aurelien Domont" userId="6da7715ce44349b3" providerId="LiveId" clId="{FC254C3F-0DA2-4768-8E5C-80D9632154D7}" dt="2021-05-20T06:48:36.681" v="4750" actId="113"/>
          <ac:spMkLst>
            <pc:docMk/>
            <pc:sldMk cId="2346025138" sldId="2155"/>
            <ac:spMk id="24" creationId="{3921BBDB-53B5-4760-9FC7-6E553D430312}"/>
          </ac:spMkLst>
        </pc:spChg>
        <pc:spChg chg="add mod">
          <ac:chgData name="Aurelien Domont" userId="6da7715ce44349b3" providerId="LiveId" clId="{FC254C3F-0DA2-4768-8E5C-80D9632154D7}" dt="2021-05-20T06:48:41.256" v="4753"/>
          <ac:spMkLst>
            <pc:docMk/>
            <pc:sldMk cId="2346025138" sldId="2155"/>
            <ac:spMk id="30" creationId="{6C839CA0-84F2-4101-9721-20A5629A3053}"/>
          </ac:spMkLst>
        </pc:spChg>
        <pc:spChg chg="add del mod">
          <ac:chgData name="Aurelien Domont" userId="6da7715ce44349b3" providerId="LiveId" clId="{FC254C3F-0DA2-4768-8E5C-80D9632154D7}" dt="2021-05-20T06:37:22.538" v="4430" actId="478"/>
          <ac:spMkLst>
            <pc:docMk/>
            <pc:sldMk cId="2346025138" sldId="2155"/>
            <ac:spMk id="37" creationId="{A8B0F311-FDE1-4EDD-9C35-184651DDC7BD}"/>
          </ac:spMkLst>
        </pc:spChg>
        <pc:spChg chg="del">
          <ac:chgData name="Aurelien Domont" userId="6da7715ce44349b3" providerId="LiveId" clId="{FC254C3F-0DA2-4768-8E5C-80D9632154D7}" dt="2021-05-20T04:30:10.155" v="1057" actId="478"/>
          <ac:spMkLst>
            <pc:docMk/>
            <pc:sldMk cId="2346025138" sldId="2155"/>
            <ac:spMk id="38" creationId="{9154E016-91D3-424E-A420-78147246AA84}"/>
          </ac:spMkLst>
        </pc:spChg>
        <pc:spChg chg="add del mod">
          <ac:chgData name="Aurelien Domont" userId="6da7715ce44349b3" providerId="LiveId" clId="{FC254C3F-0DA2-4768-8E5C-80D9632154D7}" dt="2021-05-20T06:37:22.538" v="4430" actId="478"/>
          <ac:spMkLst>
            <pc:docMk/>
            <pc:sldMk cId="2346025138" sldId="2155"/>
            <ac:spMk id="39" creationId="{ACA8D0BE-00E4-4C62-964A-3862FFCEC88C}"/>
          </ac:spMkLst>
        </pc:spChg>
        <pc:spChg chg="add del mod">
          <ac:chgData name="Aurelien Domont" userId="6da7715ce44349b3" providerId="LiveId" clId="{FC254C3F-0DA2-4768-8E5C-80D9632154D7}" dt="2021-05-20T06:37:22.538" v="4430" actId="478"/>
          <ac:spMkLst>
            <pc:docMk/>
            <pc:sldMk cId="2346025138" sldId="2155"/>
            <ac:spMk id="40" creationId="{57A23AB8-689F-47D8-B44F-4449C7132B5A}"/>
          </ac:spMkLst>
        </pc:spChg>
        <pc:spChg chg="add del mod">
          <ac:chgData name="Aurelien Domont" userId="6da7715ce44349b3" providerId="LiveId" clId="{FC254C3F-0DA2-4768-8E5C-80D9632154D7}" dt="2021-05-20T06:37:22.538" v="4430" actId="478"/>
          <ac:spMkLst>
            <pc:docMk/>
            <pc:sldMk cId="2346025138" sldId="2155"/>
            <ac:spMk id="41" creationId="{0EA77320-5F41-4394-B6E4-28C2F0C8F59F}"/>
          </ac:spMkLst>
        </pc:spChg>
        <pc:spChg chg="add del mod">
          <ac:chgData name="Aurelien Domont" userId="6da7715ce44349b3" providerId="LiveId" clId="{FC254C3F-0DA2-4768-8E5C-80D9632154D7}" dt="2021-05-20T06:37:22.538" v="4430" actId="478"/>
          <ac:spMkLst>
            <pc:docMk/>
            <pc:sldMk cId="2346025138" sldId="2155"/>
            <ac:spMk id="42" creationId="{530C72FF-BB17-40DC-84B9-87F76A0F6EEE}"/>
          </ac:spMkLst>
        </pc:spChg>
        <pc:spChg chg="add del mod">
          <ac:chgData name="Aurelien Domont" userId="6da7715ce44349b3" providerId="LiveId" clId="{FC254C3F-0DA2-4768-8E5C-80D9632154D7}" dt="2021-05-20T06:37:22.538" v="4430" actId="478"/>
          <ac:spMkLst>
            <pc:docMk/>
            <pc:sldMk cId="2346025138" sldId="2155"/>
            <ac:spMk id="43" creationId="{145791CD-A027-4E98-B0C0-3CAB2F83EC1D}"/>
          </ac:spMkLst>
        </pc:spChg>
        <pc:spChg chg="add mod ord">
          <ac:chgData name="Aurelien Domont" userId="6da7715ce44349b3" providerId="LiveId" clId="{FC254C3F-0DA2-4768-8E5C-80D9632154D7}" dt="2021-05-20T06:41:02.328" v="4553" actId="1035"/>
          <ac:spMkLst>
            <pc:docMk/>
            <pc:sldMk cId="2346025138" sldId="2155"/>
            <ac:spMk id="60" creationId="{AD84A7F9-2952-47E8-B7AC-FD9CC201BB66}"/>
          </ac:spMkLst>
        </pc:spChg>
        <pc:spChg chg="add mod">
          <ac:chgData name="Aurelien Domont" userId="6da7715ce44349b3" providerId="LiveId" clId="{FC254C3F-0DA2-4768-8E5C-80D9632154D7}" dt="2021-05-20T06:41:02.328" v="4553" actId="1035"/>
          <ac:spMkLst>
            <pc:docMk/>
            <pc:sldMk cId="2346025138" sldId="2155"/>
            <ac:spMk id="65" creationId="{D6534CDC-674F-4AB4-8A22-79E1A8CD2E92}"/>
          </ac:spMkLst>
        </pc:spChg>
        <pc:spChg chg="add mod">
          <ac:chgData name="Aurelien Domont" userId="6da7715ce44349b3" providerId="LiveId" clId="{FC254C3F-0DA2-4768-8E5C-80D9632154D7}" dt="2021-05-20T06:48:51.169" v="4759"/>
          <ac:spMkLst>
            <pc:docMk/>
            <pc:sldMk cId="2346025138" sldId="2155"/>
            <ac:spMk id="66" creationId="{A663B09E-8C3F-443D-8C96-81B8EFA531E8}"/>
          </ac:spMkLst>
        </pc:spChg>
        <pc:spChg chg="add mod">
          <ac:chgData name="Aurelien Domont" userId="6da7715ce44349b3" providerId="LiveId" clId="{FC254C3F-0DA2-4768-8E5C-80D9632154D7}" dt="2021-05-20T06:48:49.725" v="4758"/>
          <ac:spMkLst>
            <pc:docMk/>
            <pc:sldMk cId="2346025138" sldId="2155"/>
            <ac:spMk id="67" creationId="{FE63F62A-3736-44BC-B67F-36124629F578}"/>
          </ac:spMkLst>
        </pc:spChg>
        <pc:spChg chg="add mod">
          <ac:chgData name="Aurelien Domont" userId="6da7715ce44349b3" providerId="LiveId" clId="{FC254C3F-0DA2-4768-8E5C-80D9632154D7}" dt="2021-05-20T06:48:47.089" v="4756"/>
          <ac:spMkLst>
            <pc:docMk/>
            <pc:sldMk cId="2346025138" sldId="2155"/>
            <ac:spMk id="68" creationId="{09FC8043-DFFE-45CA-BBDB-583DBFC2B262}"/>
          </ac:spMkLst>
        </pc:spChg>
        <pc:spChg chg="add mod">
          <ac:chgData name="Aurelien Domont" userId="6da7715ce44349b3" providerId="LiveId" clId="{FC254C3F-0DA2-4768-8E5C-80D9632154D7}" dt="2021-05-20T06:48:43.118" v="4754"/>
          <ac:spMkLst>
            <pc:docMk/>
            <pc:sldMk cId="2346025138" sldId="2155"/>
            <ac:spMk id="69" creationId="{0C2A6138-D911-46CA-BEC8-060061FF9F4B}"/>
          </ac:spMkLst>
        </pc:spChg>
        <pc:spChg chg="add mod">
          <ac:chgData name="Aurelien Domont" userId="6da7715ce44349b3" providerId="LiveId" clId="{FC254C3F-0DA2-4768-8E5C-80D9632154D7}" dt="2021-05-20T06:48:48.663" v="4757"/>
          <ac:spMkLst>
            <pc:docMk/>
            <pc:sldMk cId="2346025138" sldId="2155"/>
            <ac:spMk id="70" creationId="{11B80DD3-4AB5-4602-978F-A6D0EEE18F7E}"/>
          </ac:spMkLst>
        </pc:spChg>
        <pc:spChg chg="add mod">
          <ac:chgData name="Aurelien Domont" userId="6da7715ce44349b3" providerId="LiveId" clId="{FC254C3F-0DA2-4768-8E5C-80D9632154D7}" dt="2021-05-20T06:48:44.709" v="4755"/>
          <ac:spMkLst>
            <pc:docMk/>
            <pc:sldMk cId="2346025138" sldId="2155"/>
            <ac:spMk id="71" creationId="{3907F25A-692B-484D-82A9-855E646528BF}"/>
          </ac:spMkLst>
        </pc:spChg>
        <pc:spChg chg="add mod">
          <ac:chgData name="Aurelien Domont" userId="6da7715ce44349b3" providerId="LiveId" clId="{FC254C3F-0DA2-4768-8E5C-80D9632154D7}" dt="2021-05-20T06:41:16.663" v="4566" actId="20577"/>
          <ac:spMkLst>
            <pc:docMk/>
            <pc:sldMk cId="2346025138" sldId="2155"/>
            <ac:spMk id="72" creationId="{356FAF76-75C0-4939-ADA9-0D490880999E}"/>
          </ac:spMkLst>
        </pc:spChg>
        <pc:spChg chg="add mod">
          <ac:chgData name="Aurelien Domont" userId="6da7715ce44349b3" providerId="LiveId" clId="{FC254C3F-0DA2-4768-8E5C-80D9632154D7}" dt="2021-05-20T06:48:52.758" v="4760"/>
          <ac:spMkLst>
            <pc:docMk/>
            <pc:sldMk cId="2346025138" sldId="2155"/>
            <ac:spMk id="73" creationId="{B3864B19-E169-4A43-AF2C-5611FA7E9D59}"/>
          </ac:spMkLst>
        </pc:spChg>
        <pc:spChg chg="add mod">
          <ac:chgData name="Aurelien Domont" userId="6da7715ce44349b3" providerId="LiveId" clId="{FC254C3F-0DA2-4768-8E5C-80D9632154D7}" dt="2021-05-20T06:48:54.492" v="4761"/>
          <ac:spMkLst>
            <pc:docMk/>
            <pc:sldMk cId="2346025138" sldId="2155"/>
            <ac:spMk id="74" creationId="{835F7EF9-BE41-4A0C-9ED4-4810528F4D4B}"/>
          </ac:spMkLst>
        </pc:spChg>
        <pc:spChg chg="add mod">
          <ac:chgData name="Aurelien Domont" userId="6da7715ce44349b3" providerId="LiveId" clId="{FC254C3F-0DA2-4768-8E5C-80D9632154D7}" dt="2021-05-20T06:48:57.555" v="4763"/>
          <ac:spMkLst>
            <pc:docMk/>
            <pc:sldMk cId="2346025138" sldId="2155"/>
            <ac:spMk id="75" creationId="{148419C5-5A4D-4B41-80B7-802D22B58DA4}"/>
          </ac:spMkLst>
        </pc:spChg>
        <pc:spChg chg="add mod">
          <ac:chgData name="Aurelien Domont" userId="6da7715ce44349b3" providerId="LiveId" clId="{FC254C3F-0DA2-4768-8E5C-80D9632154D7}" dt="2021-05-20T06:49:01.145" v="4764"/>
          <ac:spMkLst>
            <pc:docMk/>
            <pc:sldMk cId="2346025138" sldId="2155"/>
            <ac:spMk id="76" creationId="{B37DF318-0EF0-459D-9F3D-9BB86BE04329}"/>
          </ac:spMkLst>
        </pc:spChg>
        <pc:spChg chg="add mod">
          <ac:chgData name="Aurelien Domont" userId="6da7715ce44349b3" providerId="LiveId" clId="{FC254C3F-0DA2-4768-8E5C-80D9632154D7}" dt="2021-05-20T06:48:56.016" v="4762"/>
          <ac:spMkLst>
            <pc:docMk/>
            <pc:sldMk cId="2346025138" sldId="2155"/>
            <ac:spMk id="77" creationId="{5C24003C-A900-41E6-B1F4-92F48D5F71E5}"/>
          </ac:spMkLst>
        </pc:spChg>
        <pc:spChg chg="add mod">
          <ac:chgData name="Aurelien Domont" userId="6da7715ce44349b3" providerId="LiveId" clId="{FC254C3F-0DA2-4768-8E5C-80D9632154D7}" dt="2021-05-20T06:49:03.361" v="4765"/>
          <ac:spMkLst>
            <pc:docMk/>
            <pc:sldMk cId="2346025138" sldId="2155"/>
            <ac:spMk id="78" creationId="{5B26BF6D-FFE6-4879-928B-27676689DA01}"/>
          </ac:spMkLst>
        </pc:spChg>
        <pc:spChg chg="add mod">
          <ac:chgData name="Aurelien Domont" userId="6da7715ce44349b3" providerId="LiveId" clId="{FC254C3F-0DA2-4768-8E5C-80D9632154D7}" dt="2021-05-20T06:45:26.720" v="4693" actId="207"/>
          <ac:spMkLst>
            <pc:docMk/>
            <pc:sldMk cId="2346025138" sldId="2155"/>
            <ac:spMk id="79" creationId="{E21B820B-4427-467C-BDC8-75217055A5A0}"/>
          </ac:spMkLst>
        </pc:spChg>
        <pc:cxnChg chg="add del mod">
          <ac:chgData name="Aurelien Domont" userId="6da7715ce44349b3" providerId="LiveId" clId="{FC254C3F-0DA2-4768-8E5C-80D9632154D7}" dt="2021-05-20T06:36:17.489" v="4421" actId="478"/>
          <ac:cxnSpMkLst>
            <pc:docMk/>
            <pc:sldMk cId="2346025138" sldId="2155"/>
            <ac:cxnSpMk id="25" creationId="{DE31634D-ABC4-4B6E-A7B0-1321D899DB15}"/>
          </ac:cxnSpMkLst>
        </pc:cxnChg>
        <pc:cxnChg chg="add del mod">
          <ac:chgData name="Aurelien Domont" userId="6da7715ce44349b3" providerId="LiveId" clId="{FC254C3F-0DA2-4768-8E5C-80D9632154D7}" dt="2021-05-20T06:36:17.489" v="4421" actId="478"/>
          <ac:cxnSpMkLst>
            <pc:docMk/>
            <pc:sldMk cId="2346025138" sldId="2155"/>
            <ac:cxnSpMk id="26" creationId="{374B57A2-120A-4D97-B209-4B852528A6A4}"/>
          </ac:cxnSpMkLst>
        </pc:cxnChg>
        <pc:cxnChg chg="add del mod">
          <ac:chgData name="Aurelien Domont" userId="6da7715ce44349b3" providerId="LiveId" clId="{FC254C3F-0DA2-4768-8E5C-80D9632154D7}" dt="2021-05-20T06:36:17.489" v="4421" actId="478"/>
          <ac:cxnSpMkLst>
            <pc:docMk/>
            <pc:sldMk cId="2346025138" sldId="2155"/>
            <ac:cxnSpMk id="27" creationId="{EAFE1E1E-A3B9-40BF-A8D9-3D567C6065B8}"/>
          </ac:cxnSpMkLst>
        </pc:cxnChg>
        <pc:cxnChg chg="add del mod">
          <ac:chgData name="Aurelien Domont" userId="6da7715ce44349b3" providerId="LiveId" clId="{FC254C3F-0DA2-4768-8E5C-80D9632154D7}" dt="2021-05-20T06:36:17.489" v="4421" actId="478"/>
          <ac:cxnSpMkLst>
            <pc:docMk/>
            <pc:sldMk cId="2346025138" sldId="2155"/>
            <ac:cxnSpMk id="28" creationId="{222EDE26-7FA3-41D9-8534-CF7F02B49BFA}"/>
          </ac:cxnSpMkLst>
        </pc:cxnChg>
        <pc:cxnChg chg="add del mod">
          <ac:chgData name="Aurelien Domont" userId="6da7715ce44349b3" providerId="LiveId" clId="{FC254C3F-0DA2-4768-8E5C-80D9632154D7}" dt="2021-05-20T06:36:14.959" v="4420" actId="478"/>
          <ac:cxnSpMkLst>
            <pc:docMk/>
            <pc:sldMk cId="2346025138" sldId="2155"/>
            <ac:cxnSpMk id="29" creationId="{01897759-9039-4A56-850C-99375D4A25B6}"/>
          </ac:cxnSpMkLst>
        </pc:cxnChg>
        <pc:cxnChg chg="add del mod">
          <ac:chgData name="Aurelien Domont" userId="6da7715ce44349b3" providerId="LiveId" clId="{FC254C3F-0DA2-4768-8E5C-80D9632154D7}" dt="2021-05-20T06:36:17.489" v="4421" actId="478"/>
          <ac:cxnSpMkLst>
            <pc:docMk/>
            <pc:sldMk cId="2346025138" sldId="2155"/>
            <ac:cxnSpMk id="31" creationId="{C4F5E428-FCCC-4CEF-8E7B-36E9BD777221}"/>
          </ac:cxnSpMkLst>
        </pc:cxnChg>
        <pc:cxnChg chg="add del mod">
          <ac:chgData name="Aurelien Domont" userId="6da7715ce44349b3" providerId="LiveId" clId="{FC254C3F-0DA2-4768-8E5C-80D9632154D7}" dt="2021-05-20T06:35:06.692" v="4413" actId="478"/>
          <ac:cxnSpMkLst>
            <pc:docMk/>
            <pc:sldMk cId="2346025138" sldId="2155"/>
            <ac:cxnSpMk id="44" creationId="{5EE32442-833A-4BB4-9644-8F7400D1B8FD}"/>
          </ac:cxnSpMkLst>
        </pc:cxnChg>
        <pc:cxnChg chg="add mod">
          <ac:chgData name="Aurelien Domont" userId="6da7715ce44349b3" providerId="LiveId" clId="{FC254C3F-0DA2-4768-8E5C-80D9632154D7}" dt="2021-05-20T06:46:39.436" v="4699" actId="14100"/>
          <ac:cxnSpMkLst>
            <pc:docMk/>
            <pc:sldMk cId="2346025138" sldId="2155"/>
            <ac:cxnSpMk id="57" creationId="{BA4F90BE-6824-4CFE-B275-CF178B87FCF5}"/>
          </ac:cxnSpMkLst>
        </pc:cxnChg>
        <pc:cxnChg chg="add mod">
          <ac:chgData name="Aurelien Domont" userId="6da7715ce44349b3" providerId="LiveId" clId="{FC254C3F-0DA2-4768-8E5C-80D9632154D7}" dt="2021-05-20T06:41:08.714" v="4555" actId="1037"/>
          <ac:cxnSpMkLst>
            <pc:docMk/>
            <pc:sldMk cId="2346025138" sldId="2155"/>
            <ac:cxnSpMk id="61" creationId="{CCBBD65B-F898-4CA7-913E-E53A25D29E0A}"/>
          </ac:cxnSpMkLst>
        </pc:cxnChg>
        <pc:cxnChg chg="add mod">
          <ac:chgData name="Aurelien Domont" userId="6da7715ce44349b3" providerId="LiveId" clId="{FC254C3F-0DA2-4768-8E5C-80D9632154D7}" dt="2021-05-20T06:46:26.540" v="4697" actId="14100"/>
          <ac:cxnSpMkLst>
            <pc:docMk/>
            <pc:sldMk cId="2346025138" sldId="2155"/>
            <ac:cxnSpMk id="80" creationId="{1D974ED0-C4BC-42F8-B795-D78037E6DE52}"/>
          </ac:cxnSpMkLst>
        </pc:cxnChg>
      </pc:sldChg>
      <pc:sldChg chg="addSp delSp modSp add mod">
        <pc:chgData name="Aurelien Domont" userId="6da7715ce44349b3" providerId="LiveId" clId="{FC254C3F-0DA2-4768-8E5C-80D9632154D7}" dt="2021-05-20T04:45:05.283" v="1651" actId="108"/>
        <pc:sldMkLst>
          <pc:docMk/>
          <pc:sldMk cId="1479295029" sldId="2156"/>
        </pc:sldMkLst>
        <pc:spChg chg="add mod">
          <ac:chgData name="Aurelien Domont" userId="6da7715ce44349b3" providerId="LiveId" clId="{FC254C3F-0DA2-4768-8E5C-80D9632154D7}" dt="2021-05-20T04:43:16.330" v="1554" actId="14100"/>
          <ac:spMkLst>
            <pc:docMk/>
            <pc:sldMk cId="1479295029" sldId="2156"/>
            <ac:spMk id="5" creationId="{451CCA09-1D02-4912-A627-48525D1FC292}"/>
          </ac:spMkLst>
        </pc:spChg>
        <pc:spChg chg="add mod">
          <ac:chgData name="Aurelien Domont" userId="6da7715ce44349b3" providerId="LiveId" clId="{FC254C3F-0DA2-4768-8E5C-80D9632154D7}" dt="2021-05-20T04:44:59.978" v="1647" actId="113"/>
          <ac:spMkLst>
            <pc:docMk/>
            <pc:sldMk cId="1479295029" sldId="2156"/>
            <ac:spMk id="6" creationId="{58640601-4D44-4B49-A731-7641730D8799}"/>
          </ac:spMkLst>
        </pc:spChg>
        <pc:spChg chg="add del mod">
          <ac:chgData name="Aurelien Domont" userId="6da7715ce44349b3" providerId="LiveId" clId="{FC254C3F-0DA2-4768-8E5C-80D9632154D7}" dt="2021-05-20T04:37:08.281" v="1319" actId="478"/>
          <ac:spMkLst>
            <pc:docMk/>
            <pc:sldMk cId="1479295029" sldId="2156"/>
            <ac:spMk id="7" creationId="{5D0D7C9C-F300-4C43-98B2-0B1E7E18E3BD}"/>
          </ac:spMkLst>
        </pc:spChg>
        <pc:spChg chg="add del mod">
          <ac:chgData name="Aurelien Domont" userId="6da7715ce44349b3" providerId="LiveId" clId="{FC254C3F-0DA2-4768-8E5C-80D9632154D7}" dt="2021-05-20T04:37:08.281" v="1319" actId="478"/>
          <ac:spMkLst>
            <pc:docMk/>
            <pc:sldMk cId="1479295029" sldId="2156"/>
            <ac:spMk id="8" creationId="{F5BF15F4-2BE8-4F96-AC34-BC34E32DB9DC}"/>
          </ac:spMkLst>
        </pc:spChg>
        <pc:spChg chg="add del mod">
          <ac:chgData name="Aurelien Domont" userId="6da7715ce44349b3" providerId="LiveId" clId="{FC254C3F-0DA2-4768-8E5C-80D9632154D7}" dt="2021-05-20T04:37:08.281" v="1319" actId="478"/>
          <ac:spMkLst>
            <pc:docMk/>
            <pc:sldMk cId="1479295029" sldId="2156"/>
            <ac:spMk id="9" creationId="{020A536E-A6F7-40F6-A5BF-2C18863A591E}"/>
          </ac:spMkLst>
        </pc:spChg>
        <pc:spChg chg="add del mod">
          <ac:chgData name="Aurelien Domont" userId="6da7715ce44349b3" providerId="LiveId" clId="{FC254C3F-0DA2-4768-8E5C-80D9632154D7}" dt="2021-05-20T04:37:08.281" v="1319" actId="478"/>
          <ac:spMkLst>
            <pc:docMk/>
            <pc:sldMk cId="1479295029" sldId="2156"/>
            <ac:spMk id="10" creationId="{91EF9A6E-E51A-4E63-8D3E-9F501A4E961A}"/>
          </ac:spMkLst>
        </pc:spChg>
        <pc:spChg chg="add del mod">
          <ac:chgData name="Aurelien Domont" userId="6da7715ce44349b3" providerId="LiveId" clId="{FC254C3F-0DA2-4768-8E5C-80D9632154D7}" dt="2021-05-20T04:37:08.281" v="1319" actId="478"/>
          <ac:spMkLst>
            <pc:docMk/>
            <pc:sldMk cId="1479295029" sldId="2156"/>
            <ac:spMk id="11" creationId="{212443DD-9AE7-47C9-A422-D41D38F065E7}"/>
          </ac:spMkLst>
        </pc:spChg>
        <pc:spChg chg="add del mod">
          <ac:chgData name="Aurelien Domont" userId="6da7715ce44349b3" providerId="LiveId" clId="{FC254C3F-0DA2-4768-8E5C-80D9632154D7}" dt="2021-05-20T04:37:08.281" v="1319" actId="478"/>
          <ac:spMkLst>
            <pc:docMk/>
            <pc:sldMk cId="1479295029" sldId="2156"/>
            <ac:spMk id="12" creationId="{7D4CB6B9-4111-4876-AFA0-69F7D72AA376}"/>
          </ac:spMkLst>
        </pc:spChg>
        <pc:spChg chg="add del mod">
          <ac:chgData name="Aurelien Domont" userId="6da7715ce44349b3" providerId="LiveId" clId="{FC254C3F-0DA2-4768-8E5C-80D9632154D7}" dt="2021-05-20T04:37:08.281" v="1319" actId="478"/>
          <ac:spMkLst>
            <pc:docMk/>
            <pc:sldMk cId="1479295029" sldId="2156"/>
            <ac:spMk id="14" creationId="{C2DB9604-F9CF-4C32-9B7B-3AD2E4FBA1DD}"/>
          </ac:spMkLst>
        </pc:spChg>
        <pc:spChg chg="add del mod">
          <ac:chgData name="Aurelien Domont" userId="6da7715ce44349b3" providerId="LiveId" clId="{FC254C3F-0DA2-4768-8E5C-80D9632154D7}" dt="2021-05-20T04:37:08.281" v="1319" actId="478"/>
          <ac:spMkLst>
            <pc:docMk/>
            <pc:sldMk cId="1479295029" sldId="2156"/>
            <ac:spMk id="15" creationId="{F2D7E7C9-C3AC-4F0B-94D2-1E911352C8B5}"/>
          </ac:spMkLst>
        </pc:spChg>
        <pc:spChg chg="mod">
          <ac:chgData name="Aurelien Domont" userId="6da7715ce44349b3" providerId="LiveId" clId="{FC254C3F-0DA2-4768-8E5C-80D9632154D7}" dt="2021-05-20T04:37:02.097" v="1318" actId="20577"/>
          <ac:spMkLst>
            <pc:docMk/>
            <pc:sldMk cId="1479295029" sldId="2156"/>
            <ac:spMk id="16" creationId="{6C2BB713-9637-4B9B-938F-E9768876782A}"/>
          </ac:spMkLst>
        </pc:spChg>
        <pc:spChg chg="add del mod">
          <ac:chgData name="Aurelien Domont" userId="6da7715ce44349b3" providerId="LiveId" clId="{FC254C3F-0DA2-4768-8E5C-80D9632154D7}" dt="2021-05-20T04:37:08.281" v="1319" actId="478"/>
          <ac:spMkLst>
            <pc:docMk/>
            <pc:sldMk cId="1479295029" sldId="2156"/>
            <ac:spMk id="17" creationId="{92269F62-97E6-4C21-A4EF-1CC66FD5D842}"/>
          </ac:spMkLst>
        </pc:spChg>
        <pc:spChg chg="add del mod">
          <ac:chgData name="Aurelien Domont" userId="6da7715ce44349b3" providerId="LiveId" clId="{FC254C3F-0DA2-4768-8E5C-80D9632154D7}" dt="2021-05-20T04:37:08.281" v="1319" actId="478"/>
          <ac:spMkLst>
            <pc:docMk/>
            <pc:sldMk cId="1479295029" sldId="2156"/>
            <ac:spMk id="18" creationId="{3002DE43-DA95-4FF8-A934-9C34446FA605}"/>
          </ac:spMkLst>
        </pc:spChg>
        <pc:spChg chg="add del mod">
          <ac:chgData name="Aurelien Domont" userId="6da7715ce44349b3" providerId="LiveId" clId="{FC254C3F-0DA2-4768-8E5C-80D9632154D7}" dt="2021-05-20T04:37:08.281" v="1319" actId="478"/>
          <ac:spMkLst>
            <pc:docMk/>
            <pc:sldMk cId="1479295029" sldId="2156"/>
            <ac:spMk id="19" creationId="{2DAE08C1-7A0C-4F79-B41D-1831B50983E9}"/>
          </ac:spMkLst>
        </pc:spChg>
        <pc:spChg chg="add del mod">
          <ac:chgData name="Aurelien Domont" userId="6da7715ce44349b3" providerId="LiveId" clId="{FC254C3F-0DA2-4768-8E5C-80D9632154D7}" dt="2021-05-20T04:37:08.281" v="1319" actId="478"/>
          <ac:spMkLst>
            <pc:docMk/>
            <pc:sldMk cId="1479295029" sldId="2156"/>
            <ac:spMk id="20" creationId="{CE27E8F9-41D3-4D49-B0A7-14EB5D5BE618}"/>
          </ac:spMkLst>
        </pc:spChg>
        <pc:spChg chg="add del mod">
          <ac:chgData name="Aurelien Domont" userId="6da7715ce44349b3" providerId="LiveId" clId="{FC254C3F-0DA2-4768-8E5C-80D9632154D7}" dt="2021-05-20T04:37:08.281" v="1319" actId="478"/>
          <ac:spMkLst>
            <pc:docMk/>
            <pc:sldMk cId="1479295029" sldId="2156"/>
            <ac:spMk id="21" creationId="{4CDA99AA-1FA0-4EF7-9067-4E977546BF52}"/>
          </ac:spMkLst>
        </pc:spChg>
        <pc:spChg chg="add del mod">
          <ac:chgData name="Aurelien Domont" userId="6da7715ce44349b3" providerId="LiveId" clId="{FC254C3F-0DA2-4768-8E5C-80D9632154D7}" dt="2021-05-20T04:37:08.281" v="1319" actId="478"/>
          <ac:spMkLst>
            <pc:docMk/>
            <pc:sldMk cId="1479295029" sldId="2156"/>
            <ac:spMk id="22" creationId="{11AB8475-FACE-41F0-A68B-ADCF04749997}"/>
          </ac:spMkLst>
        </pc:spChg>
        <pc:spChg chg="add mod">
          <ac:chgData name="Aurelien Domont" userId="6da7715ce44349b3" providerId="LiveId" clId="{FC254C3F-0DA2-4768-8E5C-80D9632154D7}" dt="2021-05-20T04:43:16.330" v="1554" actId="14100"/>
          <ac:spMkLst>
            <pc:docMk/>
            <pc:sldMk cId="1479295029" sldId="2156"/>
            <ac:spMk id="23" creationId="{B334694F-7BB3-4FCD-9E8F-FFA6E89394E3}"/>
          </ac:spMkLst>
        </pc:spChg>
        <pc:spChg chg="add mod">
          <ac:chgData name="Aurelien Domont" userId="6da7715ce44349b3" providerId="LiveId" clId="{FC254C3F-0DA2-4768-8E5C-80D9632154D7}" dt="2021-05-20T04:45:03.954" v="1648" actId="108"/>
          <ac:spMkLst>
            <pc:docMk/>
            <pc:sldMk cId="1479295029" sldId="2156"/>
            <ac:spMk id="24" creationId="{65ED58C9-C893-412C-A89A-0D2078927765}"/>
          </ac:spMkLst>
        </pc:spChg>
        <pc:spChg chg="add mod">
          <ac:chgData name="Aurelien Domont" userId="6da7715ce44349b3" providerId="LiveId" clId="{FC254C3F-0DA2-4768-8E5C-80D9632154D7}" dt="2021-05-20T04:43:16.330" v="1554" actId="14100"/>
          <ac:spMkLst>
            <pc:docMk/>
            <pc:sldMk cId="1479295029" sldId="2156"/>
            <ac:spMk id="25" creationId="{7D833DE7-9E1C-4475-A7CE-460FF1F4D7C1}"/>
          </ac:spMkLst>
        </pc:spChg>
        <pc:spChg chg="add mod">
          <ac:chgData name="Aurelien Domont" userId="6da7715ce44349b3" providerId="LiveId" clId="{FC254C3F-0DA2-4768-8E5C-80D9632154D7}" dt="2021-05-20T04:45:04.485" v="1649" actId="108"/>
          <ac:spMkLst>
            <pc:docMk/>
            <pc:sldMk cId="1479295029" sldId="2156"/>
            <ac:spMk id="26" creationId="{0F2E6CC3-2425-4F18-BF55-995AAC49BDEC}"/>
          </ac:spMkLst>
        </pc:spChg>
        <pc:spChg chg="add mod">
          <ac:chgData name="Aurelien Domont" userId="6da7715ce44349b3" providerId="LiveId" clId="{FC254C3F-0DA2-4768-8E5C-80D9632154D7}" dt="2021-05-20T04:43:16.330" v="1554" actId="14100"/>
          <ac:spMkLst>
            <pc:docMk/>
            <pc:sldMk cId="1479295029" sldId="2156"/>
            <ac:spMk id="27" creationId="{CF68F54C-6564-4B2B-A213-1F519EEB94AD}"/>
          </ac:spMkLst>
        </pc:spChg>
        <pc:spChg chg="add mod">
          <ac:chgData name="Aurelien Domont" userId="6da7715ce44349b3" providerId="LiveId" clId="{FC254C3F-0DA2-4768-8E5C-80D9632154D7}" dt="2021-05-20T04:45:04.882" v="1650" actId="108"/>
          <ac:spMkLst>
            <pc:docMk/>
            <pc:sldMk cId="1479295029" sldId="2156"/>
            <ac:spMk id="28" creationId="{EC8720D3-8207-4B1C-913F-0D3EC2ECFB2B}"/>
          </ac:spMkLst>
        </pc:spChg>
        <pc:spChg chg="add mod">
          <ac:chgData name="Aurelien Domont" userId="6da7715ce44349b3" providerId="LiveId" clId="{FC254C3F-0DA2-4768-8E5C-80D9632154D7}" dt="2021-05-20T04:43:16.330" v="1554" actId="14100"/>
          <ac:spMkLst>
            <pc:docMk/>
            <pc:sldMk cId="1479295029" sldId="2156"/>
            <ac:spMk id="29" creationId="{9F88C4F5-E765-47EF-B190-EA4613B36123}"/>
          </ac:spMkLst>
        </pc:spChg>
        <pc:spChg chg="add mod">
          <ac:chgData name="Aurelien Domont" userId="6da7715ce44349b3" providerId="LiveId" clId="{FC254C3F-0DA2-4768-8E5C-80D9632154D7}" dt="2021-05-20T04:45:05.283" v="1651" actId="108"/>
          <ac:spMkLst>
            <pc:docMk/>
            <pc:sldMk cId="1479295029" sldId="2156"/>
            <ac:spMk id="30" creationId="{1F2E2D8A-2BD9-4E56-AD54-2E76B8B40303}"/>
          </ac:spMkLst>
        </pc:spChg>
        <pc:spChg chg="add mod">
          <ac:chgData name="Aurelien Domont" userId="6da7715ce44349b3" providerId="LiveId" clId="{FC254C3F-0DA2-4768-8E5C-80D9632154D7}" dt="2021-05-20T04:44:06.299" v="1605" actId="20577"/>
          <ac:spMkLst>
            <pc:docMk/>
            <pc:sldMk cId="1479295029" sldId="2156"/>
            <ac:spMk id="31" creationId="{92591DBB-98EC-493C-A852-F0EFB804075A}"/>
          </ac:spMkLst>
        </pc:spChg>
        <pc:spChg chg="add mod">
          <ac:chgData name="Aurelien Domont" userId="6da7715ce44349b3" providerId="LiveId" clId="{FC254C3F-0DA2-4768-8E5C-80D9632154D7}" dt="2021-05-20T04:44:20.859" v="1614" actId="108"/>
          <ac:spMkLst>
            <pc:docMk/>
            <pc:sldMk cId="1479295029" sldId="2156"/>
            <ac:spMk id="32" creationId="{E2D2C2F5-DA73-4151-9A73-5F844F4A5E2A}"/>
          </ac:spMkLst>
        </pc:spChg>
        <pc:spChg chg="add mod">
          <ac:chgData name="Aurelien Domont" userId="6da7715ce44349b3" providerId="LiveId" clId="{FC254C3F-0DA2-4768-8E5C-80D9632154D7}" dt="2021-05-20T04:44:18.643" v="1610" actId="108"/>
          <ac:spMkLst>
            <pc:docMk/>
            <pc:sldMk cId="1479295029" sldId="2156"/>
            <ac:spMk id="33" creationId="{FF52AD10-B87D-42B7-BC46-3E3BA92DD759}"/>
          </ac:spMkLst>
        </pc:spChg>
        <pc:spChg chg="add mod">
          <ac:chgData name="Aurelien Domont" userId="6da7715ce44349b3" providerId="LiveId" clId="{FC254C3F-0DA2-4768-8E5C-80D9632154D7}" dt="2021-05-20T04:44:19.282" v="1611" actId="108"/>
          <ac:spMkLst>
            <pc:docMk/>
            <pc:sldMk cId="1479295029" sldId="2156"/>
            <ac:spMk id="34" creationId="{8298234B-3021-44DF-8D5D-F615B16AD5EC}"/>
          </ac:spMkLst>
        </pc:spChg>
        <pc:spChg chg="add mod">
          <ac:chgData name="Aurelien Domont" userId="6da7715ce44349b3" providerId="LiveId" clId="{FC254C3F-0DA2-4768-8E5C-80D9632154D7}" dt="2021-05-20T04:44:20.279" v="1613" actId="108"/>
          <ac:spMkLst>
            <pc:docMk/>
            <pc:sldMk cId="1479295029" sldId="2156"/>
            <ac:spMk id="35" creationId="{C4C1607E-5DDE-476E-957E-58ACEBC90CCC}"/>
          </ac:spMkLst>
        </pc:spChg>
      </pc:sldChg>
      <pc:sldChg chg="add del">
        <pc:chgData name="Aurelien Domont" userId="6da7715ce44349b3" providerId="LiveId" clId="{FC254C3F-0DA2-4768-8E5C-80D9632154D7}" dt="2021-05-20T05:09:51.939" v="2300" actId="47"/>
        <pc:sldMkLst>
          <pc:docMk/>
          <pc:sldMk cId="333077673" sldId="2157"/>
        </pc:sldMkLst>
      </pc:sldChg>
      <pc:sldChg chg="addSp modSp add del mod">
        <pc:chgData name="Aurelien Domont" userId="6da7715ce44349b3" providerId="LiveId" clId="{FC254C3F-0DA2-4768-8E5C-80D9632154D7}" dt="2021-05-20T05:06:33.803" v="2296" actId="47"/>
        <pc:sldMkLst>
          <pc:docMk/>
          <pc:sldMk cId="3403113405" sldId="2158"/>
        </pc:sldMkLst>
        <pc:spChg chg="mod">
          <ac:chgData name="Aurelien Domont" userId="6da7715ce44349b3" providerId="LiveId" clId="{FC254C3F-0DA2-4768-8E5C-80D9632154D7}" dt="2021-05-20T04:42:01.090" v="1551" actId="20577"/>
          <ac:spMkLst>
            <pc:docMk/>
            <pc:sldMk cId="3403113405" sldId="2158"/>
            <ac:spMk id="6" creationId="{58640601-4D44-4B49-A731-7641730D8799}"/>
          </ac:spMkLst>
        </pc:spChg>
        <pc:spChg chg="add mod">
          <ac:chgData name="Aurelien Domont" userId="6da7715ce44349b3" providerId="LiveId" clId="{FC254C3F-0DA2-4768-8E5C-80D9632154D7}" dt="2021-05-20T04:41:07.536" v="1528" actId="14100"/>
          <ac:spMkLst>
            <pc:docMk/>
            <pc:sldMk cId="3403113405" sldId="2158"/>
            <ac:spMk id="15" creationId="{E337183F-8D0C-40D5-8E79-3A2A02B1BD99}"/>
          </ac:spMkLst>
        </pc:spChg>
      </pc:sldChg>
      <pc:sldChg chg="add del">
        <pc:chgData name="Aurelien Domont" userId="6da7715ce44349b3" providerId="LiveId" clId="{FC254C3F-0DA2-4768-8E5C-80D9632154D7}" dt="2021-05-20T04:46:07.625" v="1654" actId="47"/>
        <pc:sldMkLst>
          <pc:docMk/>
          <pc:sldMk cId="4157370321" sldId="2159"/>
        </pc:sldMkLst>
      </pc:sldChg>
      <pc:sldChg chg="addSp modSp add mod">
        <pc:chgData name="Aurelien Domont" userId="6da7715ce44349b3" providerId="LiveId" clId="{FC254C3F-0DA2-4768-8E5C-80D9632154D7}" dt="2021-05-20T05:06:09.577" v="2294"/>
        <pc:sldMkLst>
          <pc:docMk/>
          <pc:sldMk cId="2678382071" sldId="2160"/>
        </pc:sldMkLst>
        <pc:spChg chg="mod">
          <ac:chgData name="Aurelien Domont" userId="6da7715ce44349b3" providerId="LiveId" clId="{FC254C3F-0DA2-4768-8E5C-80D9632154D7}" dt="2021-05-20T04:56:29.163" v="2052" actId="20577"/>
          <ac:spMkLst>
            <pc:docMk/>
            <pc:sldMk cId="2678382071" sldId="2160"/>
            <ac:spMk id="6" creationId="{58640601-4D44-4B49-A731-7641730D8799}"/>
          </ac:spMkLst>
        </pc:spChg>
        <pc:spChg chg="add mod">
          <ac:chgData name="Aurelien Domont" userId="6da7715ce44349b3" providerId="LiveId" clId="{FC254C3F-0DA2-4768-8E5C-80D9632154D7}" dt="2021-05-20T04:45:58.301" v="1653"/>
          <ac:spMkLst>
            <pc:docMk/>
            <pc:sldMk cId="2678382071" sldId="2160"/>
            <ac:spMk id="20" creationId="{4B145E06-1CE4-4D20-9711-8C167F887A82}"/>
          </ac:spMkLst>
        </pc:spChg>
        <pc:spChg chg="mod">
          <ac:chgData name="Aurelien Domont" userId="6da7715ce44349b3" providerId="LiveId" clId="{FC254C3F-0DA2-4768-8E5C-80D9632154D7}" dt="2021-05-20T05:05:29.372" v="2292"/>
          <ac:spMkLst>
            <pc:docMk/>
            <pc:sldMk cId="2678382071" sldId="2160"/>
            <ac:spMk id="24" creationId="{65ED58C9-C893-412C-A89A-0D2078927765}"/>
          </ac:spMkLst>
        </pc:spChg>
        <pc:spChg chg="mod">
          <ac:chgData name="Aurelien Domont" userId="6da7715ce44349b3" providerId="LiveId" clId="{FC254C3F-0DA2-4768-8E5C-80D9632154D7}" dt="2021-05-20T04:56:17.558" v="2051" actId="20577"/>
          <ac:spMkLst>
            <pc:docMk/>
            <pc:sldMk cId="2678382071" sldId="2160"/>
            <ac:spMk id="26" creationId="{0F2E6CC3-2425-4F18-BF55-995AAC49BDEC}"/>
          </ac:spMkLst>
        </pc:spChg>
        <pc:spChg chg="mod">
          <ac:chgData name="Aurelien Domont" userId="6da7715ce44349b3" providerId="LiveId" clId="{FC254C3F-0DA2-4768-8E5C-80D9632154D7}" dt="2021-05-20T05:00:19.918" v="2212" actId="6549"/>
          <ac:spMkLst>
            <pc:docMk/>
            <pc:sldMk cId="2678382071" sldId="2160"/>
            <ac:spMk id="28" creationId="{EC8720D3-8207-4B1C-913F-0D3EC2ECFB2B}"/>
          </ac:spMkLst>
        </pc:spChg>
        <pc:spChg chg="mod">
          <ac:chgData name="Aurelien Domont" userId="6da7715ce44349b3" providerId="LiveId" clId="{FC254C3F-0DA2-4768-8E5C-80D9632154D7}" dt="2021-05-20T05:06:09.577" v="2294"/>
          <ac:spMkLst>
            <pc:docMk/>
            <pc:sldMk cId="2678382071" sldId="2160"/>
            <ac:spMk id="30" creationId="{1F2E2D8A-2BD9-4E56-AD54-2E76B8B40303}"/>
          </ac:spMkLst>
        </pc:spChg>
        <pc:spChg chg="mod">
          <ac:chgData name="Aurelien Domont" userId="6da7715ce44349b3" providerId="LiveId" clId="{FC254C3F-0DA2-4768-8E5C-80D9632154D7}" dt="2021-05-20T04:53:11.036" v="1695" actId="313"/>
          <ac:spMkLst>
            <pc:docMk/>
            <pc:sldMk cId="2678382071" sldId="2160"/>
            <ac:spMk id="31" creationId="{92591DBB-98EC-493C-A852-F0EFB804075A}"/>
          </ac:spMkLst>
        </pc:spChg>
        <pc:spChg chg="mod">
          <ac:chgData name="Aurelien Domont" userId="6da7715ce44349b3" providerId="LiveId" clId="{FC254C3F-0DA2-4768-8E5C-80D9632154D7}" dt="2021-05-20T05:05:24.542" v="2291"/>
          <ac:spMkLst>
            <pc:docMk/>
            <pc:sldMk cId="2678382071" sldId="2160"/>
            <ac:spMk id="32" creationId="{E2D2C2F5-DA73-4151-9A73-5F844F4A5E2A}"/>
          </ac:spMkLst>
        </pc:spChg>
        <pc:spChg chg="mod">
          <ac:chgData name="Aurelien Domont" userId="6da7715ce44349b3" providerId="LiveId" clId="{FC254C3F-0DA2-4768-8E5C-80D9632154D7}" dt="2021-05-20T04:55:49.964" v="1925" actId="20577"/>
          <ac:spMkLst>
            <pc:docMk/>
            <pc:sldMk cId="2678382071" sldId="2160"/>
            <ac:spMk id="33" creationId="{FF52AD10-B87D-42B7-BC46-3E3BA92DD759}"/>
          </ac:spMkLst>
        </pc:spChg>
        <pc:spChg chg="mod">
          <ac:chgData name="Aurelien Domont" userId="6da7715ce44349b3" providerId="LiveId" clId="{FC254C3F-0DA2-4768-8E5C-80D9632154D7}" dt="2021-05-20T04:59:19.785" v="2174" actId="20577"/>
          <ac:spMkLst>
            <pc:docMk/>
            <pc:sldMk cId="2678382071" sldId="2160"/>
            <ac:spMk id="34" creationId="{8298234B-3021-44DF-8D5D-F615B16AD5EC}"/>
          </ac:spMkLst>
        </pc:spChg>
        <pc:spChg chg="mod">
          <ac:chgData name="Aurelien Domont" userId="6da7715ce44349b3" providerId="LiveId" clId="{FC254C3F-0DA2-4768-8E5C-80D9632154D7}" dt="2021-05-20T05:06:01.855" v="2293"/>
          <ac:spMkLst>
            <pc:docMk/>
            <pc:sldMk cId="2678382071" sldId="2160"/>
            <ac:spMk id="35" creationId="{C4C1607E-5DDE-476E-957E-58ACEBC90CCC}"/>
          </ac:spMkLst>
        </pc:spChg>
      </pc:sldChg>
      <pc:sldChg chg="modSp add del mod">
        <pc:chgData name="Aurelien Domont" userId="6da7715ce44349b3" providerId="LiveId" clId="{FC254C3F-0DA2-4768-8E5C-80D9632154D7}" dt="2021-05-20T05:06:22.356" v="2295" actId="47"/>
        <pc:sldMkLst>
          <pc:docMk/>
          <pc:sldMk cId="629681200" sldId="2161"/>
        </pc:sldMkLst>
        <pc:spChg chg="mod">
          <ac:chgData name="Aurelien Domont" userId="6da7715ce44349b3" providerId="LiveId" clId="{FC254C3F-0DA2-4768-8E5C-80D9632154D7}" dt="2021-05-20T05:05:20.609" v="2290" actId="21"/>
          <ac:spMkLst>
            <pc:docMk/>
            <pc:sldMk cId="629681200" sldId="2161"/>
            <ac:spMk id="35" creationId="{C4C1607E-5DDE-476E-957E-58ACEBC90CCC}"/>
          </ac:spMkLst>
        </pc:spChg>
      </pc:sldChg>
      <pc:sldChg chg="addSp modSp add del mod">
        <pc:chgData name="Aurelien Domont" userId="6da7715ce44349b3" providerId="LiveId" clId="{FC254C3F-0DA2-4768-8E5C-80D9632154D7}" dt="2021-05-20T05:16:58.623" v="2837" actId="47"/>
        <pc:sldMkLst>
          <pc:docMk/>
          <pc:sldMk cId="2043240555" sldId="2161"/>
        </pc:sldMkLst>
        <pc:spChg chg="add mod">
          <ac:chgData name="Aurelien Domont" userId="6da7715ce44349b3" providerId="LiveId" clId="{FC254C3F-0DA2-4768-8E5C-80D9632154D7}" dt="2021-05-20T05:12:49.042" v="2435" actId="6549"/>
          <ac:spMkLst>
            <pc:docMk/>
            <pc:sldMk cId="2043240555" sldId="2161"/>
            <ac:spMk id="5" creationId="{1A533370-79AC-4E60-ADDC-B73AF7D4CA9D}"/>
          </ac:spMkLst>
        </pc:spChg>
        <pc:spChg chg="mod">
          <ac:chgData name="Aurelien Domont" userId="6da7715ce44349b3" providerId="LiveId" clId="{FC254C3F-0DA2-4768-8E5C-80D9632154D7}" dt="2021-05-20T05:12:26.593" v="2397" actId="20577"/>
          <ac:spMkLst>
            <pc:docMk/>
            <pc:sldMk cId="2043240555" sldId="2161"/>
            <ac:spMk id="16" creationId="{6C2BB713-9637-4B9B-938F-E9768876782A}"/>
          </ac:spMkLst>
        </pc:spChg>
      </pc:sldChg>
      <pc:sldChg chg="addSp delSp modSp add mod">
        <pc:chgData name="Aurelien Domont" userId="6da7715ce44349b3" providerId="LiveId" clId="{FC254C3F-0DA2-4768-8E5C-80D9632154D7}" dt="2021-05-21T04:46:41.098" v="4882" actId="179"/>
        <pc:sldMkLst>
          <pc:docMk/>
          <pc:sldMk cId="1648929139" sldId="2162"/>
        </pc:sldMkLst>
        <pc:spChg chg="mod">
          <ac:chgData name="Aurelien Domont" userId="6da7715ce44349b3" providerId="LiveId" clId="{FC254C3F-0DA2-4768-8E5C-80D9632154D7}" dt="2021-05-21T04:46:41.098" v="4882" actId="179"/>
          <ac:spMkLst>
            <pc:docMk/>
            <pc:sldMk cId="1648929139" sldId="2162"/>
            <ac:spMk id="5" creationId="{1A533370-79AC-4E60-ADDC-B73AF7D4CA9D}"/>
          </ac:spMkLst>
        </pc:spChg>
        <pc:spChg chg="add del mod">
          <ac:chgData name="Aurelien Domont" userId="6da7715ce44349b3" providerId="LiveId" clId="{FC254C3F-0DA2-4768-8E5C-80D9632154D7}" dt="2021-05-20T05:17:07.359" v="2839" actId="478"/>
          <ac:spMkLst>
            <pc:docMk/>
            <pc:sldMk cId="1648929139" sldId="2162"/>
            <ac:spMk id="6" creationId="{074FB1D0-41D0-4506-85CF-81FCFCEC7FF5}"/>
          </ac:spMkLst>
        </pc:spChg>
        <pc:spChg chg="mod">
          <ac:chgData name="Aurelien Domont" userId="6da7715ce44349b3" providerId="LiveId" clId="{FC254C3F-0DA2-4768-8E5C-80D9632154D7}" dt="2021-05-20T05:43:37.705" v="3192" actId="20577"/>
          <ac:spMkLst>
            <pc:docMk/>
            <pc:sldMk cId="1648929139" sldId="2162"/>
            <ac:spMk id="16" creationId="{6C2BB713-9637-4B9B-938F-E9768876782A}"/>
          </ac:spMkLst>
        </pc:spChg>
      </pc:sldChg>
      <pc:sldChg chg="modSp add mod">
        <pc:chgData name="Aurelien Domont" userId="6da7715ce44349b3" providerId="LiveId" clId="{FC254C3F-0DA2-4768-8E5C-80D9632154D7}" dt="2021-05-21T04:46:50.282" v="4883" actId="179"/>
        <pc:sldMkLst>
          <pc:docMk/>
          <pc:sldMk cId="875289396" sldId="2163"/>
        </pc:sldMkLst>
        <pc:spChg chg="mod">
          <ac:chgData name="Aurelien Domont" userId="6da7715ce44349b3" providerId="LiveId" clId="{FC254C3F-0DA2-4768-8E5C-80D9632154D7}" dt="2021-05-21T04:46:50.282" v="4883" actId="179"/>
          <ac:spMkLst>
            <pc:docMk/>
            <pc:sldMk cId="875289396" sldId="2163"/>
            <ac:spMk id="5" creationId="{1A533370-79AC-4E60-ADDC-B73AF7D4CA9D}"/>
          </ac:spMkLst>
        </pc:spChg>
        <pc:spChg chg="mod">
          <ac:chgData name="Aurelien Domont" userId="6da7715ce44349b3" providerId="LiveId" clId="{FC254C3F-0DA2-4768-8E5C-80D9632154D7}" dt="2021-05-20T05:20:01.953" v="3148" actId="20577"/>
          <ac:spMkLst>
            <pc:docMk/>
            <pc:sldMk cId="875289396" sldId="2163"/>
            <ac:spMk id="6" creationId="{074FB1D0-41D0-4506-85CF-81FCFCEC7FF5}"/>
          </ac:spMkLst>
        </pc:spChg>
        <pc:spChg chg="mod">
          <ac:chgData name="Aurelien Domont" userId="6da7715ce44349b3" providerId="LiveId" clId="{FC254C3F-0DA2-4768-8E5C-80D9632154D7}" dt="2021-05-20T05:43:30.281" v="3191" actId="20577"/>
          <ac:spMkLst>
            <pc:docMk/>
            <pc:sldMk cId="875289396" sldId="2163"/>
            <ac:spMk id="16" creationId="{6C2BB713-9637-4B9B-938F-E9768876782A}"/>
          </ac:spMkLst>
        </pc:spChg>
      </pc:sldChg>
      <pc:sldChg chg="addSp delSp modSp add del mod">
        <pc:chgData name="Aurelien Domont" userId="6da7715ce44349b3" providerId="LiveId" clId="{FC254C3F-0DA2-4768-8E5C-80D9632154D7}" dt="2021-05-20T06:16:05.625" v="4086" actId="47"/>
        <pc:sldMkLst>
          <pc:docMk/>
          <pc:sldMk cId="3167426569" sldId="2164"/>
        </pc:sldMkLst>
        <pc:spChg chg="add del mod">
          <ac:chgData name="Aurelien Domont" userId="6da7715ce44349b3" providerId="LiveId" clId="{FC254C3F-0DA2-4768-8E5C-80D9632154D7}" dt="2021-05-20T05:49:02.676" v="3373" actId="478"/>
          <ac:spMkLst>
            <pc:docMk/>
            <pc:sldMk cId="3167426569" sldId="2164"/>
            <ac:spMk id="2" creationId="{8DE3493E-E6B2-49B2-88AD-00F0835E0E14}"/>
          </ac:spMkLst>
        </pc:spChg>
        <pc:spChg chg="add del mod">
          <ac:chgData name="Aurelien Domont" userId="6da7715ce44349b3" providerId="LiveId" clId="{FC254C3F-0DA2-4768-8E5C-80D9632154D7}" dt="2021-05-20T05:46:13.306" v="3322" actId="478"/>
          <ac:spMkLst>
            <pc:docMk/>
            <pc:sldMk cId="3167426569" sldId="2164"/>
            <ac:spMk id="4" creationId="{0140F145-982B-49BC-8FA5-BAEB407EC85F}"/>
          </ac:spMkLst>
        </pc:spChg>
        <pc:spChg chg="del mod">
          <ac:chgData name="Aurelien Domont" userId="6da7715ce44349b3" providerId="LiveId" clId="{FC254C3F-0DA2-4768-8E5C-80D9632154D7}" dt="2021-05-20T05:45:06.053" v="3297" actId="478"/>
          <ac:spMkLst>
            <pc:docMk/>
            <pc:sldMk cId="3167426569" sldId="2164"/>
            <ac:spMk id="5" creationId="{1A533370-79AC-4E60-ADDC-B73AF7D4CA9D}"/>
          </ac:spMkLst>
        </pc:spChg>
        <pc:spChg chg="del">
          <ac:chgData name="Aurelien Domont" userId="6da7715ce44349b3" providerId="LiveId" clId="{FC254C3F-0DA2-4768-8E5C-80D9632154D7}" dt="2021-05-20T05:43:59.476" v="3194" actId="478"/>
          <ac:spMkLst>
            <pc:docMk/>
            <pc:sldMk cId="3167426569" sldId="2164"/>
            <ac:spMk id="6" creationId="{074FB1D0-41D0-4506-85CF-81FCFCEC7FF5}"/>
          </ac:spMkLst>
        </pc:spChg>
        <pc:spChg chg="add del mod">
          <ac:chgData name="Aurelien Domont" userId="6da7715ce44349b3" providerId="LiveId" clId="{FC254C3F-0DA2-4768-8E5C-80D9632154D7}" dt="2021-05-20T05:49:25.654" v="3382" actId="478"/>
          <ac:spMkLst>
            <pc:docMk/>
            <pc:sldMk cId="3167426569" sldId="2164"/>
            <ac:spMk id="7" creationId="{01991021-6304-4E8C-AE3A-38283A62EB20}"/>
          </ac:spMkLst>
        </pc:spChg>
        <pc:spChg chg="add del mod">
          <ac:chgData name="Aurelien Domont" userId="6da7715ce44349b3" providerId="LiveId" clId="{FC254C3F-0DA2-4768-8E5C-80D9632154D7}" dt="2021-05-20T05:45:37.423" v="3315" actId="478"/>
          <ac:spMkLst>
            <pc:docMk/>
            <pc:sldMk cId="3167426569" sldId="2164"/>
            <ac:spMk id="8" creationId="{F3B8CF15-5511-4293-9393-8EF72A24303D}"/>
          </ac:spMkLst>
        </pc:spChg>
        <pc:spChg chg="add del mod">
          <ac:chgData name="Aurelien Domont" userId="6da7715ce44349b3" providerId="LiveId" clId="{FC254C3F-0DA2-4768-8E5C-80D9632154D7}" dt="2021-05-20T06:09:40.014" v="3943" actId="478"/>
          <ac:spMkLst>
            <pc:docMk/>
            <pc:sldMk cId="3167426569" sldId="2164"/>
            <ac:spMk id="9" creationId="{F96D0EC2-6E16-4C1B-8CEA-EBB31E7AAE8C}"/>
          </ac:spMkLst>
        </pc:spChg>
        <pc:spChg chg="add del mod">
          <ac:chgData name="Aurelien Domont" userId="6da7715ce44349b3" providerId="LiveId" clId="{FC254C3F-0DA2-4768-8E5C-80D9632154D7}" dt="2021-05-20T06:03:11.846" v="3723" actId="478"/>
          <ac:spMkLst>
            <pc:docMk/>
            <pc:sldMk cId="3167426569" sldId="2164"/>
            <ac:spMk id="10" creationId="{E2469E96-33E0-4355-A440-C03AA74CF21D}"/>
          </ac:spMkLst>
        </pc:spChg>
        <pc:spChg chg="add del mod">
          <ac:chgData name="Aurelien Domont" userId="6da7715ce44349b3" providerId="LiveId" clId="{FC254C3F-0DA2-4768-8E5C-80D9632154D7}" dt="2021-05-20T05:50:52.223" v="3403" actId="478"/>
          <ac:spMkLst>
            <pc:docMk/>
            <pc:sldMk cId="3167426569" sldId="2164"/>
            <ac:spMk id="11" creationId="{C7381672-C80A-4912-9FBC-8D9D66CB4538}"/>
          </ac:spMkLst>
        </pc:spChg>
        <pc:spChg chg="add del mod">
          <ac:chgData name="Aurelien Domont" userId="6da7715ce44349b3" providerId="LiveId" clId="{FC254C3F-0DA2-4768-8E5C-80D9632154D7}" dt="2021-05-20T05:49:33.934" v="3385" actId="478"/>
          <ac:spMkLst>
            <pc:docMk/>
            <pc:sldMk cId="3167426569" sldId="2164"/>
            <ac:spMk id="12" creationId="{7BC6E936-847D-4DB7-8C2D-C1C624795FFD}"/>
          </ac:spMkLst>
        </pc:spChg>
        <pc:spChg chg="add mod">
          <ac:chgData name="Aurelien Domont" userId="6da7715ce44349b3" providerId="LiveId" clId="{FC254C3F-0DA2-4768-8E5C-80D9632154D7}" dt="2021-05-20T06:06:58.233" v="3818" actId="207"/>
          <ac:spMkLst>
            <pc:docMk/>
            <pc:sldMk cId="3167426569" sldId="2164"/>
            <ac:spMk id="14" creationId="{4F8E8BE3-E03F-4660-8B85-A88E09962FBC}"/>
          </ac:spMkLst>
        </pc:spChg>
        <pc:spChg chg="add mod">
          <ac:chgData name="Aurelien Domont" userId="6da7715ce44349b3" providerId="LiveId" clId="{FC254C3F-0DA2-4768-8E5C-80D9632154D7}" dt="2021-05-20T06:06:58.233" v="3818" actId="207"/>
          <ac:spMkLst>
            <pc:docMk/>
            <pc:sldMk cId="3167426569" sldId="2164"/>
            <ac:spMk id="15" creationId="{5290C28F-0900-48CA-A5F6-5DD7D1EA251B}"/>
          </ac:spMkLst>
        </pc:spChg>
        <pc:spChg chg="mod">
          <ac:chgData name="Aurelien Domont" userId="6da7715ce44349b3" providerId="LiveId" clId="{FC254C3F-0DA2-4768-8E5C-80D9632154D7}" dt="2021-05-20T06:06:10.084" v="3817" actId="20577"/>
          <ac:spMkLst>
            <pc:docMk/>
            <pc:sldMk cId="3167426569" sldId="2164"/>
            <ac:spMk id="16" creationId="{6C2BB713-9637-4B9B-938F-E9768876782A}"/>
          </ac:spMkLst>
        </pc:spChg>
        <pc:spChg chg="add mod">
          <ac:chgData name="Aurelien Domont" userId="6da7715ce44349b3" providerId="LiveId" clId="{FC254C3F-0DA2-4768-8E5C-80D9632154D7}" dt="2021-05-20T06:06:58.233" v="3818" actId="207"/>
          <ac:spMkLst>
            <pc:docMk/>
            <pc:sldMk cId="3167426569" sldId="2164"/>
            <ac:spMk id="17" creationId="{FB20B082-C2A9-42A5-93F6-13472F952D4E}"/>
          </ac:spMkLst>
        </pc:spChg>
        <pc:spChg chg="add mod">
          <ac:chgData name="Aurelien Domont" userId="6da7715ce44349b3" providerId="LiveId" clId="{FC254C3F-0DA2-4768-8E5C-80D9632154D7}" dt="2021-05-20T06:06:58.233" v="3818" actId="207"/>
          <ac:spMkLst>
            <pc:docMk/>
            <pc:sldMk cId="3167426569" sldId="2164"/>
            <ac:spMk id="18" creationId="{2761F4DA-2E32-4BAE-AAE4-4CB2C3DAB4BF}"/>
          </ac:spMkLst>
        </pc:spChg>
        <pc:spChg chg="add mod">
          <ac:chgData name="Aurelien Domont" userId="6da7715ce44349b3" providerId="LiveId" clId="{FC254C3F-0DA2-4768-8E5C-80D9632154D7}" dt="2021-05-20T06:06:58.233" v="3818" actId="207"/>
          <ac:spMkLst>
            <pc:docMk/>
            <pc:sldMk cId="3167426569" sldId="2164"/>
            <ac:spMk id="19" creationId="{E80A8B79-CE40-481D-B7B1-540C9402CE33}"/>
          </ac:spMkLst>
        </pc:spChg>
        <pc:spChg chg="add mod">
          <ac:chgData name="Aurelien Domont" userId="6da7715ce44349b3" providerId="LiveId" clId="{FC254C3F-0DA2-4768-8E5C-80D9632154D7}" dt="2021-05-20T06:08:01.703" v="3937" actId="1038"/>
          <ac:spMkLst>
            <pc:docMk/>
            <pc:sldMk cId="3167426569" sldId="2164"/>
            <ac:spMk id="20" creationId="{0BD4ECAF-B0FD-490F-B1D0-9E3F36D5084C}"/>
          </ac:spMkLst>
        </pc:spChg>
        <pc:spChg chg="add mod">
          <ac:chgData name="Aurelien Domont" userId="6da7715ce44349b3" providerId="LiveId" clId="{FC254C3F-0DA2-4768-8E5C-80D9632154D7}" dt="2021-05-20T06:07:58.365" v="3923" actId="1038"/>
          <ac:spMkLst>
            <pc:docMk/>
            <pc:sldMk cId="3167426569" sldId="2164"/>
            <ac:spMk id="21" creationId="{798B40C6-808E-4923-922F-F5CA4F10A55F}"/>
          </ac:spMkLst>
        </pc:spChg>
        <pc:picChg chg="add mod">
          <ac:chgData name="Aurelien Domont" userId="6da7715ce44349b3" providerId="LiveId" clId="{FC254C3F-0DA2-4768-8E5C-80D9632154D7}" dt="2021-05-20T06:09:21.505" v="3938" actId="931"/>
          <ac:picMkLst>
            <pc:docMk/>
            <pc:sldMk cId="3167426569" sldId="2164"/>
            <ac:picMk id="23" creationId="{67975E7E-1A86-4ACC-83E3-5B3EB0E3B728}"/>
          </ac:picMkLst>
        </pc:picChg>
        <pc:picChg chg="add mod">
          <ac:chgData name="Aurelien Domont" userId="6da7715ce44349b3" providerId="LiveId" clId="{FC254C3F-0DA2-4768-8E5C-80D9632154D7}" dt="2021-05-20T06:10:53.723" v="3988" actId="1076"/>
          <ac:picMkLst>
            <pc:docMk/>
            <pc:sldMk cId="3167426569" sldId="2164"/>
            <ac:picMk id="25" creationId="{07C87F91-035F-4CF8-AC92-2CB98D9D9694}"/>
          </ac:picMkLst>
        </pc:picChg>
        <pc:picChg chg="add mod">
          <ac:chgData name="Aurelien Domont" userId="6da7715ce44349b3" providerId="LiveId" clId="{FC254C3F-0DA2-4768-8E5C-80D9632154D7}" dt="2021-05-20T06:10:51.800" v="3987" actId="1076"/>
          <ac:picMkLst>
            <pc:docMk/>
            <pc:sldMk cId="3167426569" sldId="2164"/>
            <ac:picMk id="27" creationId="{FDC96A0D-94EC-4F9E-9F7F-4E0E00DFC884}"/>
          </ac:picMkLst>
        </pc:picChg>
        <pc:picChg chg="add mod">
          <ac:chgData name="Aurelien Domont" userId="6da7715ce44349b3" providerId="LiveId" clId="{FC254C3F-0DA2-4768-8E5C-80D9632154D7}" dt="2021-05-20T06:09:36.194" v="3942" actId="1076"/>
          <ac:picMkLst>
            <pc:docMk/>
            <pc:sldMk cId="3167426569" sldId="2164"/>
            <ac:picMk id="29" creationId="{F706B5C1-DB46-4E21-A27B-ADC7331F89BB}"/>
          </ac:picMkLst>
        </pc:picChg>
      </pc:sldChg>
      <pc:sldChg chg="add del">
        <pc:chgData name="Aurelien Domont" userId="6da7715ce44349b3" providerId="LiveId" clId="{FC254C3F-0DA2-4768-8E5C-80D9632154D7}" dt="2021-05-20T05:54:54.578" v="3476" actId="47"/>
        <pc:sldMkLst>
          <pc:docMk/>
          <pc:sldMk cId="2255289635" sldId="2165"/>
        </pc:sldMkLst>
      </pc:sldChg>
      <pc:sldChg chg="addSp modSp add del mod">
        <pc:chgData name="Aurelien Domont" userId="6da7715ce44349b3" providerId="LiveId" clId="{FC254C3F-0DA2-4768-8E5C-80D9632154D7}" dt="2021-05-20T06:16:28.743" v="4092" actId="47"/>
        <pc:sldMkLst>
          <pc:docMk/>
          <pc:sldMk cId="3576842091" sldId="2165"/>
        </pc:sldMkLst>
        <pc:spChg chg="add mod">
          <ac:chgData name="Aurelien Domont" userId="6da7715ce44349b3" providerId="LiveId" clId="{FC254C3F-0DA2-4768-8E5C-80D9632154D7}" dt="2021-05-20T05:57:37.373" v="3702" actId="14100"/>
          <ac:spMkLst>
            <pc:docMk/>
            <pc:sldMk cId="3576842091" sldId="2165"/>
            <ac:spMk id="12" creationId="{9CF79031-F60D-4EF3-AD2F-84603E039D5B}"/>
          </ac:spMkLst>
        </pc:spChg>
      </pc:sldChg>
      <pc:sldChg chg="add del">
        <pc:chgData name="Aurelien Domont" userId="6da7715ce44349b3" providerId="LiveId" clId="{FC254C3F-0DA2-4768-8E5C-80D9632154D7}" dt="2021-05-20T06:16:09.841" v="4088" actId="47"/>
        <pc:sldMkLst>
          <pc:docMk/>
          <pc:sldMk cId="3679796980" sldId="2166"/>
        </pc:sldMkLst>
      </pc:sldChg>
      <pc:sldChg chg="addSp delSp modSp add del mod">
        <pc:chgData name="Aurelien Domont" userId="6da7715ce44349b3" providerId="LiveId" clId="{FC254C3F-0DA2-4768-8E5C-80D9632154D7}" dt="2021-05-20T06:16:07.722" v="4087" actId="47"/>
        <pc:sldMkLst>
          <pc:docMk/>
          <pc:sldMk cId="120310067" sldId="2167"/>
        </pc:sldMkLst>
        <pc:spChg chg="add mod">
          <ac:chgData name="Aurelien Domont" userId="6da7715ce44349b3" providerId="LiveId" clId="{FC254C3F-0DA2-4768-8E5C-80D9632154D7}" dt="2021-05-20T06:10:31.869" v="3983" actId="1038"/>
          <ac:spMkLst>
            <pc:docMk/>
            <pc:sldMk cId="120310067" sldId="2167"/>
            <ac:spMk id="2" creationId="{6D628248-AD38-4C2A-83CF-E43F6C70F321}"/>
          </ac:spMkLst>
        </pc:spChg>
        <pc:spChg chg="del">
          <ac:chgData name="Aurelien Domont" userId="6da7715ce44349b3" providerId="LiveId" clId="{FC254C3F-0DA2-4768-8E5C-80D9632154D7}" dt="2021-05-20T06:10:04.478" v="3950" actId="478"/>
          <ac:spMkLst>
            <pc:docMk/>
            <pc:sldMk cId="120310067" sldId="2167"/>
            <ac:spMk id="9" creationId="{F96D0EC2-6E16-4C1B-8CEA-EBB31E7AAE8C}"/>
          </ac:spMkLst>
        </pc:spChg>
        <pc:spChg chg="del">
          <ac:chgData name="Aurelien Domont" userId="6da7715ce44349b3" providerId="LiveId" clId="{FC254C3F-0DA2-4768-8E5C-80D9632154D7}" dt="2021-05-20T06:10:36.900" v="3984" actId="478"/>
          <ac:spMkLst>
            <pc:docMk/>
            <pc:sldMk cId="120310067" sldId="2167"/>
            <ac:spMk id="20" creationId="{0BD4ECAF-B0FD-490F-B1D0-9E3F36D5084C}"/>
          </ac:spMkLst>
        </pc:spChg>
        <pc:spChg chg="add mod">
          <ac:chgData name="Aurelien Domont" userId="6da7715ce44349b3" providerId="LiveId" clId="{FC254C3F-0DA2-4768-8E5C-80D9632154D7}" dt="2021-05-20T06:10:43.754" v="3986" actId="571"/>
          <ac:spMkLst>
            <pc:docMk/>
            <pc:sldMk cId="120310067" sldId="2167"/>
            <ac:spMk id="24" creationId="{368DB5F9-38FE-4733-9855-61567785EF35}"/>
          </ac:spMkLst>
        </pc:spChg>
        <pc:picChg chg="add del mod">
          <ac:chgData name="Aurelien Domont" userId="6da7715ce44349b3" providerId="LiveId" clId="{FC254C3F-0DA2-4768-8E5C-80D9632154D7}" dt="2021-05-20T06:11:02.056" v="3991" actId="478"/>
          <ac:picMkLst>
            <pc:docMk/>
            <pc:sldMk cId="120310067" sldId="2167"/>
            <ac:picMk id="22" creationId="{CE62490C-37EF-4E47-9F65-7F2345D98D7B}"/>
          </ac:picMkLst>
        </pc:picChg>
        <pc:picChg chg="mod">
          <ac:chgData name="Aurelien Domont" userId="6da7715ce44349b3" providerId="LiveId" clId="{FC254C3F-0DA2-4768-8E5C-80D9632154D7}" dt="2021-05-20T06:10:27.204" v="3981" actId="207"/>
          <ac:picMkLst>
            <pc:docMk/>
            <pc:sldMk cId="120310067" sldId="2167"/>
            <ac:picMk id="23" creationId="{67975E7E-1A86-4ACC-83E3-5B3EB0E3B728}"/>
          </ac:picMkLst>
        </pc:picChg>
        <pc:picChg chg="del mod">
          <ac:chgData name="Aurelien Domont" userId="6da7715ce44349b3" providerId="LiveId" clId="{FC254C3F-0DA2-4768-8E5C-80D9632154D7}" dt="2021-05-20T06:10:38.913" v="3985" actId="478"/>
          <ac:picMkLst>
            <pc:docMk/>
            <pc:sldMk cId="120310067" sldId="2167"/>
            <ac:picMk id="25" creationId="{07C87F91-035F-4CF8-AC92-2CB98D9D9694}"/>
          </ac:picMkLst>
        </pc:picChg>
        <pc:picChg chg="add del mod">
          <ac:chgData name="Aurelien Domont" userId="6da7715ce44349b3" providerId="LiveId" clId="{FC254C3F-0DA2-4768-8E5C-80D9632154D7}" dt="2021-05-20T06:11:47.652" v="4002" actId="478"/>
          <ac:picMkLst>
            <pc:docMk/>
            <pc:sldMk cId="120310067" sldId="2167"/>
            <ac:picMk id="26" creationId="{80379642-113B-4459-83FC-4F4C13E1CF1D}"/>
          </ac:picMkLst>
        </pc:picChg>
        <pc:picChg chg="del mod">
          <ac:chgData name="Aurelien Domont" userId="6da7715ce44349b3" providerId="LiveId" clId="{FC254C3F-0DA2-4768-8E5C-80D9632154D7}" dt="2021-05-20T06:10:38.913" v="3985" actId="478"/>
          <ac:picMkLst>
            <pc:docMk/>
            <pc:sldMk cId="120310067" sldId="2167"/>
            <ac:picMk id="27" creationId="{FDC96A0D-94EC-4F9E-9F7F-4E0E00DFC884}"/>
          </ac:picMkLst>
        </pc:picChg>
        <pc:picChg chg="del mod">
          <ac:chgData name="Aurelien Domont" userId="6da7715ce44349b3" providerId="LiveId" clId="{FC254C3F-0DA2-4768-8E5C-80D9632154D7}" dt="2021-05-20T06:10:38.913" v="3985" actId="478"/>
          <ac:picMkLst>
            <pc:docMk/>
            <pc:sldMk cId="120310067" sldId="2167"/>
            <ac:picMk id="29" creationId="{F706B5C1-DB46-4E21-A27B-ADC7331F89BB}"/>
          </ac:picMkLst>
        </pc:picChg>
      </pc:sldChg>
      <pc:sldChg chg="addSp delSp modSp add mod">
        <pc:chgData name="Aurelien Domont" userId="6da7715ce44349b3" providerId="LiveId" clId="{FC254C3F-0DA2-4768-8E5C-80D9632154D7}" dt="2021-05-21T05:29:06.108" v="6605"/>
        <pc:sldMkLst>
          <pc:docMk/>
          <pc:sldMk cId="2342396241" sldId="2168"/>
        </pc:sldMkLst>
        <pc:spChg chg="del mod">
          <ac:chgData name="Aurelien Domont" userId="6da7715ce44349b3" providerId="LiveId" clId="{FC254C3F-0DA2-4768-8E5C-80D9632154D7}" dt="2021-05-20T06:19:55.648" v="4099" actId="478"/>
          <ac:spMkLst>
            <pc:docMk/>
            <pc:sldMk cId="2342396241" sldId="2168"/>
            <ac:spMk id="2" creationId="{6D628248-AD38-4C2A-83CF-E43F6C70F321}"/>
          </ac:spMkLst>
        </pc:spChg>
        <pc:spChg chg="mod">
          <ac:chgData name="Aurelien Domont" userId="6da7715ce44349b3" providerId="LiveId" clId="{FC254C3F-0DA2-4768-8E5C-80D9632154D7}" dt="2021-05-21T05:29:06.108" v="6605"/>
          <ac:spMkLst>
            <pc:docMk/>
            <pc:sldMk cId="2342396241" sldId="2168"/>
            <ac:spMk id="19" creationId="{E80A8B79-CE40-481D-B7B1-540C9402CE33}"/>
          </ac:spMkLst>
        </pc:spChg>
        <pc:spChg chg="add mod">
          <ac:chgData name="Aurelien Domont" userId="6da7715ce44349b3" providerId="LiveId" clId="{FC254C3F-0DA2-4768-8E5C-80D9632154D7}" dt="2021-05-20T06:23:59.970" v="4164" actId="20577"/>
          <ac:spMkLst>
            <pc:docMk/>
            <pc:sldMk cId="2342396241" sldId="2168"/>
            <ac:spMk id="20" creationId="{99B22DB5-DE28-4DF1-80CF-44E0D7EF7DC1}"/>
          </ac:spMkLst>
        </pc:spChg>
        <pc:spChg chg="mod">
          <ac:chgData name="Aurelien Domont" userId="6da7715ce44349b3" providerId="LiveId" clId="{FC254C3F-0DA2-4768-8E5C-80D9632154D7}" dt="2021-05-20T06:15:51.348" v="4085" actId="1038"/>
          <ac:spMkLst>
            <pc:docMk/>
            <pc:sldMk cId="2342396241" sldId="2168"/>
            <ac:spMk id="21" creationId="{798B40C6-808E-4923-922F-F5CA4F10A55F}"/>
          </ac:spMkLst>
        </pc:spChg>
        <pc:spChg chg="del">
          <ac:chgData name="Aurelien Domont" userId="6da7715ce44349b3" providerId="LiveId" clId="{FC254C3F-0DA2-4768-8E5C-80D9632154D7}" dt="2021-05-20T06:12:00.327" v="4004" actId="478"/>
          <ac:spMkLst>
            <pc:docMk/>
            <pc:sldMk cId="2342396241" sldId="2168"/>
            <ac:spMk id="24" creationId="{368DB5F9-38FE-4733-9855-61567785EF35}"/>
          </ac:spMkLst>
        </pc:spChg>
        <pc:spChg chg="add mod">
          <ac:chgData name="Aurelien Domont" userId="6da7715ce44349b3" providerId="LiveId" clId="{FC254C3F-0DA2-4768-8E5C-80D9632154D7}" dt="2021-05-20T06:13:38.809" v="4041" actId="1076"/>
          <ac:spMkLst>
            <pc:docMk/>
            <pc:sldMk cId="2342396241" sldId="2168"/>
            <ac:spMk id="25" creationId="{E241990F-DA40-4A83-9006-0B21ACC5A549}"/>
          </ac:spMkLst>
        </pc:spChg>
        <pc:spChg chg="add mod">
          <ac:chgData name="Aurelien Domont" userId="6da7715ce44349b3" providerId="LiveId" clId="{FC254C3F-0DA2-4768-8E5C-80D9632154D7}" dt="2021-05-20T06:13:43.106" v="4043" actId="20577"/>
          <ac:spMkLst>
            <pc:docMk/>
            <pc:sldMk cId="2342396241" sldId="2168"/>
            <ac:spMk id="26" creationId="{587BA8FD-985D-41B8-8517-56D5670B106B}"/>
          </ac:spMkLst>
        </pc:spChg>
        <pc:spChg chg="add mod">
          <ac:chgData name="Aurelien Domont" userId="6da7715ce44349b3" providerId="LiveId" clId="{FC254C3F-0DA2-4768-8E5C-80D9632154D7}" dt="2021-05-20T06:13:51.002" v="4047" actId="20577"/>
          <ac:spMkLst>
            <pc:docMk/>
            <pc:sldMk cId="2342396241" sldId="2168"/>
            <ac:spMk id="27" creationId="{F15BA993-0961-4C42-B006-EDDD6AB1B14F}"/>
          </ac:spMkLst>
        </pc:spChg>
        <pc:spChg chg="add mod">
          <ac:chgData name="Aurelien Domont" userId="6da7715ce44349b3" providerId="LiveId" clId="{FC254C3F-0DA2-4768-8E5C-80D9632154D7}" dt="2021-05-20T06:13:53.751" v="4048" actId="20577"/>
          <ac:spMkLst>
            <pc:docMk/>
            <pc:sldMk cId="2342396241" sldId="2168"/>
            <ac:spMk id="28" creationId="{32B8777D-02B3-436F-BEE5-C13F2DDA3B54}"/>
          </ac:spMkLst>
        </pc:spChg>
        <pc:spChg chg="add mod">
          <ac:chgData name="Aurelien Domont" userId="6da7715ce44349b3" providerId="LiveId" clId="{FC254C3F-0DA2-4768-8E5C-80D9632154D7}" dt="2021-05-20T06:19:55.907" v="4100"/>
          <ac:spMkLst>
            <pc:docMk/>
            <pc:sldMk cId="2342396241" sldId="2168"/>
            <ac:spMk id="29" creationId="{2690FBE3-8DD2-4906-BBE8-EABB0093850D}"/>
          </ac:spMkLst>
        </pc:spChg>
        <pc:picChg chg="mod">
          <ac:chgData name="Aurelien Domont" userId="6da7715ce44349b3" providerId="LiveId" clId="{FC254C3F-0DA2-4768-8E5C-80D9632154D7}" dt="2021-05-20T06:19:45.995" v="4098" actId="108"/>
          <ac:picMkLst>
            <pc:docMk/>
            <pc:sldMk cId="2342396241" sldId="2168"/>
            <ac:picMk id="23" creationId="{67975E7E-1A86-4ACC-83E3-5B3EB0E3B728}"/>
          </ac:picMkLst>
        </pc:picChg>
        <pc:cxnChg chg="add mod">
          <ac:chgData name="Aurelien Domont" userId="6da7715ce44349b3" providerId="LiveId" clId="{FC254C3F-0DA2-4768-8E5C-80D9632154D7}" dt="2021-05-20T06:13:19.500" v="4037" actId="1037"/>
          <ac:cxnSpMkLst>
            <pc:docMk/>
            <pc:sldMk cId="2342396241" sldId="2168"/>
            <ac:cxnSpMk id="5" creationId="{00AFC06A-5C5E-4817-8604-00B34BE606D8}"/>
          </ac:cxnSpMkLst>
        </pc:cxnChg>
        <pc:cxnChg chg="add mod">
          <ac:chgData name="Aurelien Domont" userId="6da7715ce44349b3" providerId="LiveId" clId="{FC254C3F-0DA2-4768-8E5C-80D9632154D7}" dt="2021-05-20T06:13:19.500" v="4037" actId="1037"/>
          <ac:cxnSpMkLst>
            <pc:docMk/>
            <pc:sldMk cId="2342396241" sldId="2168"/>
            <ac:cxnSpMk id="22" creationId="{60A3B7B3-C031-4667-81D6-FBC426F9A3D7}"/>
          </ac:cxnSpMkLst>
        </pc:cxnChg>
      </pc:sldChg>
      <pc:sldChg chg="addSp delSp modSp add mod">
        <pc:chgData name="Aurelien Domont" userId="6da7715ce44349b3" providerId="LiveId" clId="{FC254C3F-0DA2-4768-8E5C-80D9632154D7}" dt="2021-05-21T05:28:48.338" v="6604" actId="20577"/>
        <pc:sldMkLst>
          <pc:docMk/>
          <pc:sldMk cId="2159222150" sldId="2169"/>
        </pc:sldMkLst>
        <pc:spChg chg="mod">
          <ac:chgData name="Aurelien Domont" userId="6da7715ce44349b3" providerId="LiveId" clId="{FC254C3F-0DA2-4768-8E5C-80D9632154D7}" dt="2021-05-20T06:19:37.019" v="4097" actId="1038"/>
          <ac:spMkLst>
            <pc:docMk/>
            <pc:sldMk cId="2159222150" sldId="2169"/>
            <ac:spMk id="2" creationId="{6D628248-AD38-4C2A-83CF-E43F6C70F321}"/>
          </ac:spMkLst>
        </pc:spChg>
        <pc:spChg chg="mod">
          <ac:chgData name="Aurelien Domont" userId="6da7715ce44349b3" providerId="LiveId" clId="{FC254C3F-0DA2-4768-8E5C-80D9632154D7}" dt="2021-05-20T06:20:55.972" v="4128" actId="20577"/>
          <ac:spMkLst>
            <pc:docMk/>
            <pc:sldMk cId="2159222150" sldId="2169"/>
            <ac:spMk id="16" creationId="{6C2BB713-9637-4B9B-938F-E9768876782A}"/>
          </ac:spMkLst>
        </pc:spChg>
        <pc:spChg chg="mod">
          <ac:chgData name="Aurelien Domont" userId="6da7715ce44349b3" providerId="LiveId" clId="{FC254C3F-0DA2-4768-8E5C-80D9632154D7}" dt="2021-05-21T05:28:48.338" v="6604" actId="20577"/>
          <ac:spMkLst>
            <pc:docMk/>
            <pc:sldMk cId="2159222150" sldId="2169"/>
            <ac:spMk id="19" creationId="{E80A8B79-CE40-481D-B7B1-540C9402CE33}"/>
          </ac:spMkLst>
        </pc:spChg>
        <pc:spChg chg="del">
          <ac:chgData name="Aurelien Domont" userId="6da7715ce44349b3" providerId="LiveId" clId="{FC254C3F-0DA2-4768-8E5C-80D9632154D7}" dt="2021-05-20T06:24:16.813" v="4165" actId="478"/>
          <ac:spMkLst>
            <pc:docMk/>
            <pc:sldMk cId="2159222150" sldId="2169"/>
            <ac:spMk id="20" creationId="{99B22DB5-DE28-4DF1-80CF-44E0D7EF7DC1}"/>
          </ac:spMkLst>
        </pc:spChg>
        <pc:spChg chg="add mod">
          <ac:chgData name="Aurelien Domont" userId="6da7715ce44349b3" providerId="LiveId" clId="{FC254C3F-0DA2-4768-8E5C-80D9632154D7}" dt="2021-05-21T05:16:06.539" v="6299" actId="20577"/>
          <ac:spMkLst>
            <pc:docMk/>
            <pc:sldMk cId="2159222150" sldId="2169"/>
            <ac:spMk id="24" creationId="{0F9E4179-95B2-4E43-A459-DEC57999546A}"/>
          </ac:spMkLst>
        </pc:spChg>
        <pc:spChg chg="add mod ord">
          <ac:chgData name="Aurelien Domont" userId="6da7715ce44349b3" providerId="LiveId" clId="{FC254C3F-0DA2-4768-8E5C-80D9632154D7}" dt="2021-05-20T06:24:19.457" v="4167" actId="167"/>
          <ac:spMkLst>
            <pc:docMk/>
            <pc:sldMk cId="2159222150" sldId="2169"/>
            <ac:spMk id="29" creationId="{E5378FDD-C8CC-4F73-9FE4-FD36689D7346}"/>
          </ac:spMkLst>
        </pc:spChg>
        <pc:picChg chg="mod">
          <ac:chgData name="Aurelien Domont" userId="6da7715ce44349b3" providerId="LiveId" clId="{FC254C3F-0DA2-4768-8E5C-80D9632154D7}" dt="2021-05-20T06:19:32.209" v="4093" actId="207"/>
          <ac:picMkLst>
            <pc:docMk/>
            <pc:sldMk cId="2159222150" sldId="2169"/>
            <ac:picMk id="23" creationId="{67975E7E-1A86-4ACC-83E3-5B3EB0E3B728}"/>
          </ac:picMkLst>
        </pc:picChg>
      </pc:sldChg>
      <pc:sldChg chg="add del">
        <pc:chgData name="Aurelien Domont" userId="6da7715ce44349b3" providerId="LiveId" clId="{FC254C3F-0DA2-4768-8E5C-80D9632154D7}" dt="2021-05-20T06:51:55.937" v="4787" actId="47"/>
        <pc:sldMkLst>
          <pc:docMk/>
          <pc:sldMk cId="1998572614" sldId="2170"/>
        </pc:sldMkLst>
      </pc:sldChg>
      <pc:sldChg chg="addSp modSp add mod">
        <pc:chgData name="Aurelien Domont" userId="6da7715ce44349b3" providerId="LiveId" clId="{FC254C3F-0DA2-4768-8E5C-80D9632154D7}" dt="2021-05-21T05:16:44.936" v="6305" actId="20577"/>
        <pc:sldMkLst>
          <pc:docMk/>
          <pc:sldMk cId="1929697781" sldId="2171"/>
        </pc:sldMkLst>
        <pc:spChg chg="mod">
          <ac:chgData name="Aurelien Domont" userId="6da7715ce44349b3" providerId="LiveId" clId="{FC254C3F-0DA2-4768-8E5C-80D9632154D7}" dt="2021-05-21T05:16:44.936" v="6305" actId="20577"/>
          <ac:spMkLst>
            <pc:docMk/>
            <pc:sldMk cId="1929697781" sldId="2171"/>
            <ac:spMk id="16" creationId="{6C2BB713-9637-4B9B-938F-E9768876782A}"/>
          </ac:spMkLst>
        </pc:spChg>
        <pc:spChg chg="mod">
          <ac:chgData name="Aurelien Domont" userId="6da7715ce44349b3" providerId="LiveId" clId="{FC254C3F-0DA2-4768-8E5C-80D9632154D7}" dt="2021-05-20T06:50:12.872" v="4767" actId="113"/>
          <ac:spMkLst>
            <pc:docMk/>
            <pc:sldMk cId="1929697781" sldId="2171"/>
            <ac:spMk id="24" creationId="{3921BBDB-53B5-4760-9FC7-6E553D430312}"/>
          </ac:spMkLst>
        </pc:spChg>
        <pc:spChg chg="add mod">
          <ac:chgData name="Aurelien Domont" userId="6da7715ce44349b3" providerId="LiveId" clId="{FC254C3F-0DA2-4768-8E5C-80D9632154D7}" dt="2021-05-20T06:50:40.328" v="4769" actId="1076"/>
          <ac:spMkLst>
            <pc:docMk/>
            <pc:sldMk cId="1929697781" sldId="2171"/>
            <ac:spMk id="31" creationId="{C2E5C781-275B-471F-AC7B-0BFB8EBCE861}"/>
          </ac:spMkLst>
        </pc:spChg>
        <pc:spChg chg="mod">
          <ac:chgData name="Aurelien Domont" userId="6da7715ce44349b3" providerId="LiveId" clId="{FC254C3F-0DA2-4768-8E5C-80D9632154D7}" dt="2021-05-20T06:51:46.164" v="4786" actId="1035"/>
          <ac:spMkLst>
            <pc:docMk/>
            <pc:sldMk cId="1929697781" sldId="2171"/>
            <ac:spMk id="65" creationId="{D6534CDC-674F-4AB4-8A22-79E1A8CD2E92}"/>
          </ac:spMkLst>
        </pc:spChg>
        <pc:spChg chg="mod">
          <ac:chgData name="Aurelien Domont" userId="6da7715ce44349b3" providerId="LiveId" clId="{FC254C3F-0DA2-4768-8E5C-80D9632154D7}" dt="2021-05-20T06:51:46.164" v="4786" actId="1035"/>
          <ac:spMkLst>
            <pc:docMk/>
            <pc:sldMk cId="1929697781" sldId="2171"/>
            <ac:spMk id="66" creationId="{A663B09E-8C3F-443D-8C96-81B8EFA531E8}"/>
          </ac:spMkLst>
        </pc:spChg>
        <pc:spChg chg="mod">
          <ac:chgData name="Aurelien Domont" userId="6da7715ce44349b3" providerId="LiveId" clId="{FC254C3F-0DA2-4768-8E5C-80D9632154D7}" dt="2021-05-20T06:51:46.164" v="4786" actId="1035"/>
          <ac:spMkLst>
            <pc:docMk/>
            <pc:sldMk cId="1929697781" sldId="2171"/>
            <ac:spMk id="67" creationId="{FE63F62A-3736-44BC-B67F-36124629F578}"/>
          </ac:spMkLst>
        </pc:spChg>
        <pc:spChg chg="mod">
          <ac:chgData name="Aurelien Domont" userId="6da7715ce44349b3" providerId="LiveId" clId="{FC254C3F-0DA2-4768-8E5C-80D9632154D7}" dt="2021-05-20T06:51:46.164" v="4786" actId="1035"/>
          <ac:spMkLst>
            <pc:docMk/>
            <pc:sldMk cId="1929697781" sldId="2171"/>
            <ac:spMk id="68" creationId="{09FC8043-DFFE-45CA-BBDB-583DBFC2B262}"/>
          </ac:spMkLst>
        </pc:spChg>
        <pc:spChg chg="mod">
          <ac:chgData name="Aurelien Domont" userId="6da7715ce44349b3" providerId="LiveId" clId="{FC254C3F-0DA2-4768-8E5C-80D9632154D7}" dt="2021-05-20T06:51:46.164" v="4786" actId="1035"/>
          <ac:spMkLst>
            <pc:docMk/>
            <pc:sldMk cId="1929697781" sldId="2171"/>
            <ac:spMk id="69" creationId="{0C2A6138-D911-46CA-BEC8-060061FF9F4B}"/>
          </ac:spMkLst>
        </pc:spChg>
        <pc:spChg chg="mod">
          <ac:chgData name="Aurelien Domont" userId="6da7715ce44349b3" providerId="LiveId" clId="{FC254C3F-0DA2-4768-8E5C-80D9632154D7}" dt="2021-05-20T06:51:46.164" v="4786" actId="1035"/>
          <ac:spMkLst>
            <pc:docMk/>
            <pc:sldMk cId="1929697781" sldId="2171"/>
            <ac:spMk id="70" creationId="{11B80DD3-4AB5-4602-978F-A6D0EEE18F7E}"/>
          </ac:spMkLst>
        </pc:spChg>
        <pc:spChg chg="mod">
          <ac:chgData name="Aurelien Domont" userId="6da7715ce44349b3" providerId="LiveId" clId="{FC254C3F-0DA2-4768-8E5C-80D9632154D7}" dt="2021-05-20T06:51:46.164" v="4786" actId="1035"/>
          <ac:spMkLst>
            <pc:docMk/>
            <pc:sldMk cId="1929697781" sldId="2171"/>
            <ac:spMk id="71" creationId="{3907F25A-692B-484D-82A9-855E646528BF}"/>
          </ac:spMkLst>
        </pc:spChg>
        <pc:cxnChg chg="mod">
          <ac:chgData name="Aurelien Domont" userId="6da7715ce44349b3" providerId="LiveId" clId="{FC254C3F-0DA2-4768-8E5C-80D9632154D7}" dt="2021-05-20T06:51:46.164" v="4786" actId="1035"/>
          <ac:cxnSpMkLst>
            <pc:docMk/>
            <pc:sldMk cId="1929697781" sldId="2171"/>
            <ac:cxnSpMk id="80" creationId="{1D974ED0-C4BC-42F8-B795-D78037E6DE52}"/>
          </ac:cxnSpMkLst>
        </pc:cxnChg>
      </pc:sldChg>
      <pc:sldChg chg="addSp delSp modSp add mod">
        <pc:chgData name="Aurelien Domont" userId="6da7715ce44349b3" providerId="LiveId" clId="{FC254C3F-0DA2-4768-8E5C-80D9632154D7}" dt="2021-05-21T05:44:12.499" v="6774" actId="5793"/>
        <pc:sldMkLst>
          <pc:docMk/>
          <pc:sldMk cId="1513791665" sldId="2172"/>
        </pc:sldMkLst>
        <pc:spChg chg="del">
          <ac:chgData name="Aurelien Domont" userId="6da7715ce44349b3" providerId="LiveId" clId="{FC254C3F-0DA2-4768-8E5C-80D9632154D7}" dt="2021-05-20T06:52:48.018" v="4789" actId="478"/>
          <ac:spMkLst>
            <pc:docMk/>
            <pc:sldMk cId="1513791665" sldId="2172"/>
            <ac:spMk id="2" creationId="{6D628248-AD38-4C2A-83CF-E43F6C70F321}"/>
          </ac:spMkLst>
        </pc:spChg>
        <pc:spChg chg="add mod">
          <ac:chgData name="Aurelien Domont" userId="6da7715ce44349b3" providerId="LiveId" clId="{FC254C3F-0DA2-4768-8E5C-80D9632154D7}" dt="2021-05-21T04:58:49.870" v="5100" actId="20577"/>
          <ac:spMkLst>
            <pc:docMk/>
            <pc:sldMk cId="1513791665" sldId="2172"/>
            <ac:spMk id="7" creationId="{9CE8BA23-0BE7-4C32-9214-CF7DB3F48F3A}"/>
          </ac:spMkLst>
        </pc:spChg>
        <pc:spChg chg="del">
          <ac:chgData name="Aurelien Domont" userId="6da7715ce44349b3" providerId="LiveId" clId="{FC254C3F-0DA2-4768-8E5C-80D9632154D7}" dt="2021-05-20T06:52:48.018" v="4789" actId="478"/>
          <ac:spMkLst>
            <pc:docMk/>
            <pc:sldMk cId="1513791665" sldId="2172"/>
            <ac:spMk id="14" creationId="{4F8E8BE3-E03F-4660-8B85-A88E09962FBC}"/>
          </ac:spMkLst>
        </pc:spChg>
        <pc:spChg chg="del">
          <ac:chgData name="Aurelien Domont" userId="6da7715ce44349b3" providerId="LiveId" clId="{FC254C3F-0DA2-4768-8E5C-80D9632154D7}" dt="2021-05-20T06:52:48.018" v="4789" actId="478"/>
          <ac:spMkLst>
            <pc:docMk/>
            <pc:sldMk cId="1513791665" sldId="2172"/>
            <ac:spMk id="15" creationId="{5290C28F-0900-48CA-A5F6-5DD7D1EA251B}"/>
          </ac:spMkLst>
        </pc:spChg>
        <pc:spChg chg="mod">
          <ac:chgData name="Aurelien Domont" userId="6da7715ce44349b3" providerId="LiveId" clId="{FC254C3F-0DA2-4768-8E5C-80D9632154D7}" dt="2021-05-21T05:35:36.922" v="6670" actId="790"/>
          <ac:spMkLst>
            <pc:docMk/>
            <pc:sldMk cId="1513791665" sldId="2172"/>
            <ac:spMk id="16" creationId="{6C2BB713-9637-4B9B-938F-E9768876782A}"/>
          </ac:spMkLst>
        </pc:spChg>
        <pc:spChg chg="del">
          <ac:chgData name="Aurelien Domont" userId="6da7715ce44349b3" providerId="LiveId" clId="{FC254C3F-0DA2-4768-8E5C-80D9632154D7}" dt="2021-05-20T06:52:48.018" v="4789" actId="478"/>
          <ac:spMkLst>
            <pc:docMk/>
            <pc:sldMk cId="1513791665" sldId="2172"/>
            <ac:spMk id="17" creationId="{FB20B082-C2A9-42A5-93F6-13472F952D4E}"/>
          </ac:spMkLst>
        </pc:spChg>
        <pc:spChg chg="del">
          <ac:chgData name="Aurelien Domont" userId="6da7715ce44349b3" providerId="LiveId" clId="{FC254C3F-0DA2-4768-8E5C-80D9632154D7}" dt="2021-05-20T06:52:48.018" v="4789" actId="478"/>
          <ac:spMkLst>
            <pc:docMk/>
            <pc:sldMk cId="1513791665" sldId="2172"/>
            <ac:spMk id="18" creationId="{2761F4DA-2E32-4BAE-AAE4-4CB2C3DAB4BF}"/>
          </ac:spMkLst>
        </pc:spChg>
        <pc:spChg chg="del">
          <ac:chgData name="Aurelien Domont" userId="6da7715ce44349b3" providerId="LiveId" clId="{FC254C3F-0DA2-4768-8E5C-80D9632154D7}" dt="2021-05-20T06:52:48.018" v="4789" actId="478"/>
          <ac:spMkLst>
            <pc:docMk/>
            <pc:sldMk cId="1513791665" sldId="2172"/>
            <ac:spMk id="19" creationId="{E80A8B79-CE40-481D-B7B1-540C9402CE33}"/>
          </ac:spMkLst>
        </pc:spChg>
        <pc:spChg chg="del">
          <ac:chgData name="Aurelien Domont" userId="6da7715ce44349b3" providerId="LiveId" clId="{FC254C3F-0DA2-4768-8E5C-80D9632154D7}" dt="2021-05-20T06:52:48.018" v="4789" actId="478"/>
          <ac:spMkLst>
            <pc:docMk/>
            <pc:sldMk cId="1513791665" sldId="2172"/>
            <ac:spMk id="21" creationId="{798B40C6-808E-4923-922F-F5CA4F10A55F}"/>
          </ac:spMkLst>
        </pc:spChg>
        <pc:spChg chg="del">
          <ac:chgData name="Aurelien Domont" userId="6da7715ce44349b3" providerId="LiveId" clId="{FC254C3F-0DA2-4768-8E5C-80D9632154D7}" dt="2021-05-20T06:52:48.018" v="4789" actId="478"/>
          <ac:spMkLst>
            <pc:docMk/>
            <pc:sldMk cId="1513791665" sldId="2172"/>
            <ac:spMk id="24" creationId="{0F9E4179-95B2-4E43-A459-DEC57999546A}"/>
          </ac:spMkLst>
        </pc:spChg>
        <pc:spChg chg="del">
          <ac:chgData name="Aurelien Domont" userId="6da7715ce44349b3" providerId="LiveId" clId="{FC254C3F-0DA2-4768-8E5C-80D9632154D7}" dt="2021-05-20T06:52:48.018" v="4789" actId="478"/>
          <ac:spMkLst>
            <pc:docMk/>
            <pc:sldMk cId="1513791665" sldId="2172"/>
            <ac:spMk id="25" creationId="{E241990F-DA40-4A83-9006-0B21ACC5A549}"/>
          </ac:spMkLst>
        </pc:spChg>
        <pc:spChg chg="del">
          <ac:chgData name="Aurelien Domont" userId="6da7715ce44349b3" providerId="LiveId" clId="{FC254C3F-0DA2-4768-8E5C-80D9632154D7}" dt="2021-05-20T06:52:48.018" v="4789" actId="478"/>
          <ac:spMkLst>
            <pc:docMk/>
            <pc:sldMk cId="1513791665" sldId="2172"/>
            <ac:spMk id="26" creationId="{587BA8FD-985D-41B8-8517-56D5670B106B}"/>
          </ac:spMkLst>
        </pc:spChg>
        <pc:spChg chg="del">
          <ac:chgData name="Aurelien Domont" userId="6da7715ce44349b3" providerId="LiveId" clId="{FC254C3F-0DA2-4768-8E5C-80D9632154D7}" dt="2021-05-20T06:52:48.018" v="4789" actId="478"/>
          <ac:spMkLst>
            <pc:docMk/>
            <pc:sldMk cId="1513791665" sldId="2172"/>
            <ac:spMk id="27" creationId="{F15BA993-0961-4C42-B006-EDDD6AB1B14F}"/>
          </ac:spMkLst>
        </pc:spChg>
        <pc:spChg chg="del">
          <ac:chgData name="Aurelien Domont" userId="6da7715ce44349b3" providerId="LiveId" clId="{FC254C3F-0DA2-4768-8E5C-80D9632154D7}" dt="2021-05-20T06:52:48.018" v="4789" actId="478"/>
          <ac:spMkLst>
            <pc:docMk/>
            <pc:sldMk cId="1513791665" sldId="2172"/>
            <ac:spMk id="28" creationId="{32B8777D-02B3-436F-BEE5-C13F2DDA3B54}"/>
          </ac:spMkLst>
        </pc:spChg>
        <pc:spChg chg="del">
          <ac:chgData name="Aurelien Domont" userId="6da7715ce44349b3" providerId="LiveId" clId="{FC254C3F-0DA2-4768-8E5C-80D9632154D7}" dt="2021-05-20T06:52:48.018" v="4789" actId="478"/>
          <ac:spMkLst>
            <pc:docMk/>
            <pc:sldMk cId="1513791665" sldId="2172"/>
            <ac:spMk id="29" creationId="{E5378FDD-C8CC-4F73-9FE4-FD36689D7346}"/>
          </ac:spMkLst>
        </pc:spChg>
        <pc:graphicFrameChg chg="add mod modGraphic">
          <ac:chgData name="Aurelien Domont" userId="6da7715ce44349b3" providerId="LiveId" clId="{FC254C3F-0DA2-4768-8E5C-80D9632154D7}" dt="2021-05-21T05:44:12.499" v="6774" actId="5793"/>
          <ac:graphicFrameMkLst>
            <pc:docMk/>
            <pc:sldMk cId="1513791665" sldId="2172"/>
            <ac:graphicFrameMk id="5" creationId="{EC9A5040-7A95-43F9-B671-0F0285DEB5DD}"/>
          </ac:graphicFrameMkLst>
        </pc:graphicFrameChg>
        <pc:picChg chg="del">
          <ac:chgData name="Aurelien Domont" userId="6da7715ce44349b3" providerId="LiveId" clId="{FC254C3F-0DA2-4768-8E5C-80D9632154D7}" dt="2021-05-20T06:52:48.018" v="4789" actId="478"/>
          <ac:picMkLst>
            <pc:docMk/>
            <pc:sldMk cId="1513791665" sldId="2172"/>
            <ac:picMk id="23" creationId="{67975E7E-1A86-4ACC-83E3-5B3EB0E3B728}"/>
          </ac:picMkLst>
        </pc:picChg>
        <pc:cxnChg chg="del">
          <ac:chgData name="Aurelien Domont" userId="6da7715ce44349b3" providerId="LiveId" clId="{FC254C3F-0DA2-4768-8E5C-80D9632154D7}" dt="2021-05-20T06:52:48.018" v="4789" actId="478"/>
          <ac:cxnSpMkLst>
            <pc:docMk/>
            <pc:sldMk cId="1513791665" sldId="2172"/>
            <ac:cxnSpMk id="5" creationId="{00AFC06A-5C5E-4817-8604-00B34BE606D8}"/>
          </ac:cxnSpMkLst>
        </pc:cxnChg>
        <pc:cxnChg chg="add mod">
          <ac:chgData name="Aurelien Domont" userId="6da7715ce44349b3" providerId="LiveId" clId="{FC254C3F-0DA2-4768-8E5C-80D9632154D7}" dt="2021-05-21T04:55:31.954" v="5076"/>
          <ac:cxnSpMkLst>
            <pc:docMk/>
            <pc:sldMk cId="1513791665" sldId="2172"/>
            <ac:cxnSpMk id="6" creationId="{99BA70D7-673F-410A-8B92-4D8240BFD837}"/>
          </ac:cxnSpMkLst>
        </pc:cxnChg>
        <pc:cxnChg chg="del">
          <ac:chgData name="Aurelien Domont" userId="6da7715ce44349b3" providerId="LiveId" clId="{FC254C3F-0DA2-4768-8E5C-80D9632154D7}" dt="2021-05-20T06:52:48.018" v="4789" actId="478"/>
          <ac:cxnSpMkLst>
            <pc:docMk/>
            <pc:sldMk cId="1513791665" sldId="2172"/>
            <ac:cxnSpMk id="22" creationId="{60A3B7B3-C031-4667-81D6-FBC426F9A3D7}"/>
          </ac:cxnSpMkLst>
        </pc:cxnChg>
      </pc:sldChg>
      <pc:sldChg chg="addSp modSp add del mod">
        <pc:chgData name="Aurelien Domont" userId="6da7715ce44349b3" providerId="LiveId" clId="{FC254C3F-0DA2-4768-8E5C-80D9632154D7}" dt="2021-05-21T05:30:00.433" v="6615" actId="47"/>
        <pc:sldMkLst>
          <pc:docMk/>
          <pc:sldMk cId="3607810813" sldId="2173"/>
        </pc:sldMkLst>
        <pc:spChg chg="add mod">
          <ac:chgData name="Aurelien Domont" userId="6da7715ce44349b3" providerId="LiveId" clId="{FC254C3F-0DA2-4768-8E5C-80D9632154D7}" dt="2021-05-21T05:26:03.902" v="6558" actId="1076"/>
          <ac:spMkLst>
            <pc:docMk/>
            <pc:sldMk cId="3607810813" sldId="2173"/>
            <ac:spMk id="8" creationId="{C0592CE2-EDB1-4F2A-94C6-F87AFD8C432D}"/>
          </ac:spMkLst>
        </pc:spChg>
        <pc:spChg chg="add mod">
          <ac:chgData name="Aurelien Domont" userId="6da7715ce44349b3" providerId="LiveId" clId="{FC254C3F-0DA2-4768-8E5C-80D9632154D7}" dt="2021-05-21T05:26:03.902" v="6558" actId="1076"/>
          <ac:spMkLst>
            <pc:docMk/>
            <pc:sldMk cId="3607810813" sldId="2173"/>
            <ac:spMk id="9" creationId="{688DCE4B-A762-4ADB-8086-1FA50E5CF510}"/>
          </ac:spMkLst>
        </pc:spChg>
        <pc:spChg chg="add mod">
          <ac:chgData name="Aurelien Domont" userId="6da7715ce44349b3" providerId="LiveId" clId="{FC254C3F-0DA2-4768-8E5C-80D9632154D7}" dt="2021-05-21T05:26:03.902" v="6558" actId="1076"/>
          <ac:spMkLst>
            <pc:docMk/>
            <pc:sldMk cId="3607810813" sldId="2173"/>
            <ac:spMk id="10" creationId="{33662BA5-2CA7-4BE1-89F2-F9E6D0A62910}"/>
          </ac:spMkLst>
        </pc:spChg>
        <pc:spChg chg="add mod">
          <ac:chgData name="Aurelien Domont" userId="6da7715ce44349b3" providerId="LiveId" clId="{FC254C3F-0DA2-4768-8E5C-80D9632154D7}" dt="2021-05-21T05:12:21.888" v="6158" actId="14100"/>
          <ac:spMkLst>
            <pc:docMk/>
            <pc:sldMk cId="3607810813" sldId="2173"/>
            <ac:spMk id="11" creationId="{BDC34D1C-4F2E-4FA9-9DC8-3C086B22F797}"/>
          </ac:spMkLst>
        </pc:spChg>
      </pc:sldChg>
      <pc:sldChg chg="addSp delSp modSp add mod">
        <pc:chgData name="Aurelien Domont" userId="6da7715ce44349b3" providerId="LiveId" clId="{FC254C3F-0DA2-4768-8E5C-80D9632154D7}" dt="2021-05-21T05:29:44.903" v="6609"/>
        <pc:sldMkLst>
          <pc:docMk/>
          <pc:sldMk cId="2826303449" sldId="2174"/>
        </pc:sldMkLst>
        <pc:spChg chg="del">
          <ac:chgData name="Aurelien Domont" userId="6da7715ce44349b3" providerId="LiveId" clId="{FC254C3F-0DA2-4768-8E5C-80D9632154D7}" dt="2021-05-21T05:22:00.464" v="6372" actId="478"/>
          <ac:spMkLst>
            <pc:docMk/>
            <pc:sldMk cId="2826303449" sldId="2174"/>
            <ac:spMk id="14" creationId="{4F8E8BE3-E03F-4660-8B85-A88E09962FBC}"/>
          </ac:spMkLst>
        </pc:spChg>
        <pc:spChg chg="del">
          <ac:chgData name="Aurelien Domont" userId="6da7715ce44349b3" providerId="LiveId" clId="{FC254C3F-0DA2-4768-8E5C-80D9632154D7}" dt="2021-05-21T05:22:00.464" v="6372" actId="478"/>
          <ac:spMkLst>
            <pc:docMk/>
            <pc:sldMk cId="2826303449" sldId="2174"/>
            <ac:spMk id="15" creationId="{5290C28F-0900-48CA-A5F6-5DD7D1EA251B}"/>
          </ac:spMkLst>
        </pc:spChg>
        <pc:spChg chg="mod">
          <ac:chgData name="Aurelien Domont" userId="6da7715ce44349b3" providerId="LiveId" clId="{FC254C3F-0DA2-4768-8E5C-80D9632154D7}" dt="2021-05-21T05:22:19.245" v="6440" actId="20577"/>
          <ac:spMkLst>
            <pc:docMk/>
            <pc:sldMk cId="2826303449" sldId="2174"/>
            <ac:spMk id="16" creationId="{6C2BB713-9637-4B9B-938F-E9768876782A}"/>
          </ac:spMkLst>
        </pc:spChg>
        <pc:spChg chg="del">
          <ac:chgData name="Aurelien Domont" userId="6da7715ce44349b3" providerId="LiveId" clId="{FC254C3F-0DA2-4768-8E5C-80D9632154D7}" dt="2021-05-21T05:22:00.464" v="6372" actId="478"/>
          <ac:spMkLst>
            <pc:docMk/>
            <pc:sldMk cId="2826303449" sldId="2174"/>
            <ac:spMk id="17" creationId="{FB20B082-C2A9-42A5-93F6-13472F952D4E}"/>
          </ac:spMkLst>
        </pc:spChg>
        <pc:spChg chg="del">
          <ac:chgData name="Aurelien Domont" userId="6da7715ce44349b3" providerId="LiveId" clId="{FC254C3F-0DA2-4768-8E5C-80D9632154D7}" dt="2021-05-21T05:22:00.464" v="6372" actId="478"/>
          <ac:spMkLst>
            <pc:docMk/>
            <pc:sldMk cId="2826303449" sldId="2174"/>
            <ac:spMk id="18" creationId="{2761F4DA-2E32-4BAE-AAE4-4CB2C3DAB4BF}"/>
          </ac:spMkLst>
        </pc:spChg>
        <pc:spChg chg="del">
          <ac:chgData name="Aurelien Domont" userId="6da7715ce44349b3" providerId="LiveId" clId="{FC254C3F-0DA2-4768-8E5C-80D9632154D7}" dt="2021-05-21T05:22:00.464" v="6372" actId="478"/>
          <ac:spMkLst>
            <pc:docMk/>
            <pc:sldMk cId="2826303449" sldId="2174"/>
            <ac:spMk id="19" creationId="{E80A8B79-CE40-481D-B7B1-540C9402CE33}"/>
          </ac:spMkLst>
        </pc:spChg>
        <pc:spChg chg="del">
          <ac:chgData name="Aurelien Domont" userId="6da7715ce44349b3" providerId="LiveId" clId="{FC254C3F-0DA2-4768-8E5C-80D9632154D7}" dt="2021-05-21T05:22:00.464" v="6372" actId="478"/>
          <ac:spMkLst>
            <pc:docMk/>
            <pc:sldMk cId="2826303449" sldId="2174"/>
            <ac:spMk id="20" creationId="{99B22DB5-DE28-4DF1-80CF-44E0D7EF7DC1}"/>
          </ac:spMkLst>
        </pc:spChg>
        <pc:spChg chg="del">
          <ac:chgData name="Aurelien Domont" userId="6da7715ce44349b3" providerId="LiveId" clId="{FC254C3F-0DA2-4768-8E5C-80D9632154D7}" dt="2021-05-21T05:22:00.464" v="6372" actId="478"/>
          <ac:spMkLst>
            <pc:docMk/>
            <pc:sldMk cId="2826303449" sldId="2174"/>
            <ac:spMk id="21" creationId="{798B40C6-808E-4923-922F-F5CA4F10A55F}"/>
          </ac:spMkLst>
        </pc:spChg>
        <pc:spChg chg="add mod">
          <ac:chgData name="Aurelien Domont" userId="6da7715ce44349b3" providerId="LiveId" clId="{FC254C3F-0DA2-4768-8E5C-80D9632154D7}" dt="2021-05-21T05:25:42.857" v="6552" actId="20577"/>
          <ac:spMkLst>
            <pc:docMk/>
            <pc:sldMk cId="2826303449" sldId="2174"/>
            <ac:spMk id="24" creationId="{8A395014-5D91-404D-AC40-583B7E33212D}"/>
          </ac:spMkLst>
        </pc:spChg>
        <pc:spChg chg="del">
          <ac:chgData name="Aurelien Domont" userId="6da7715ce44349b3" providerId="LiveId" clId="{FC254C3F-0DA2-4768-8E5C-80D9632154D7}" dt="2021-05-21T05:22:00.464" v="6372" actId="478"/>
          <ac:spMkLst>
            <pc:docMk/>
            <pc:sldMk cId="2826303449" sldId="2174"/>
            <ac:spMk id="25" creationId="{E241990F-DA40-4A83-9006-0B21ACC5A549}"/>
          </ac:spMkLst>
        </pc:spChg>
        <pc:spChg chg="del">
          <ac:chgData name="Aurelien Domont" userId="6da7715ce44349b3" providerId="LiveId" clId="{FC254C3F-0DA2-4768-8E5C-80D9632154D7}" dt="2021-05-21T05:22:00.464" v="6372" actId="478"/>
          <ac:spMkLst>
            <pc:docMk/>
            <pc:sldMk cId="2826303449" sldId="2174"/>
            <ac:spMk id="26" creationId="{587BA8FD-985D-41B8-8517-56D5670B106B}"/>
          </ac:spMkLst>
        </pc:spChg>
        <pc:spChg chg="del">
          <ac:chgData name="Aurelien Domont" userId="6da7715ce44349b3" providerId="LiveId" clId="{FC254C3F-0DA2-4768-8E5C-80D9632154D7}" dt="2021-05-21T05:22:00.464" v="6372" actId="478"/>
          <ac:spMkLst>
            <pc:docMk/>
            <pc:sldMk cId="2826303449" sldId="2174"/>
            <ac:spMk id="27" creationId="{F15BA993-0961-4C42-B006-EDDD6AB1B14F}"/>
          </ac:spMkLst>
        </pc:spChg>
        <pc:spChg chg="del">
          <ac:chgData name="Aurelien Domont" userId="6da7715ce44349b3" providerId="LiveId" clId="{FC254C3F-0DA2-4768-8E5C-80D9632154D7}" dt="2021-05-21T05:22:00.464" v="6372" actId="478"/>
          <ac:spMkLst>
            <pc:docMk/>
            <pc:sldMk cId="2826303449" sldId="2174"/>
            <ac:spMk id="28" creationId="{32B8777D-02B3-436F-BEE5-C13F2DDA3B54}"/>
          </ac:spMkLst>
        </pc:spChg>
        <pc:spChg chg="del">
          <ac:chgData name="Aurelien Domont" userId="6da7715ce44349b3" providerId="LiveId" clId="{FC254C3F-0DA2-4768-8E5C-80D9632154D7}" dt="2021-05-21T05:22:00.464" v="6372" actId="478"/>
          <ac:spMkLst>
            <pc:docMk/>
            <pc:sldMk cId="2826303449" sldId="2174"/>
            <ac:spMk id="29" creationId="{2690FBE3-8DD2-4906-BBE8-EABB0093850D}"/>
          </ac:spMkLst>
        </pc:spChg>
        <pc:spChg chg="add mod">
          <ac:chgData name="Aurelien Domont" userId="6da7715ce44349b3" providerId="LiveId" clId="{FC254C3F-0DA2-4768-8E5C-80D9632154D7}" dt="2021-05-21T05:25:49.188" v="6553"/>
          <ac:spMkLst>
            <pc:docMk/>
            <pc:sldMk cId="2826303449" sldId="2174"/>
            <ac:spMk id="30" creationId="{0C4DDDBF-6224-4C18-9535-80D724B5A005}"/>
          </ac:spMkLst>
        </pc:spChg>
        <pc:spChg chg="add mod">
          <ac:chgData name="Aurelien Domont" userId="6da7715ce44349b3" providerId="LiveId" clId="{FC254C3F-0DA2-4768-8E5C-80D9632154D7}" dt="2021-05-21T05:25:50.375" v="6554"/>
          <ac:spMkLst>
            <pc:docMk/>
            <pc:sldMk cId="2826303449" sldId="2174"/>
            <ac:spMk id="31" creationId="{36C80EE7-A952-4C06-AEBC-36E279DA82B4}"/>
          </ac:spMkLst>
        </pc:spChg>
        <pc:spChg chg="add mod">
          <ac:chgData name="Aurelien Domont" userId="6da7715ce44349b3" providerId="LiveId" clId="{FC254C3F-0DA2-4768-8E5C-80D9632154D7}" dt="2021-05-21T05:25:51.953" v="6555"/>
          <ac:spMkLst>
            <pc:docMk/>
            <pc:sldMk cId="2826303449" sldId="2174"/>
            <ac:spMk id="32" creationId="{704C159A-FC4B-49F3-8352-D1D4BA4034E5}"/>
          </ac:spMkLst>
        </pc:spChg>
        <pc:spChg chg="add mod">
          <ac:chgData name="Aurelien Domont" userId="6da7715ce44349b3" providerId="LiveId" clId="{FC254C3F-0DA2-4768-8E5C-80D9632154D7}" dt="2021-05-21T05:25:53.298" v="6556"/>
          <ac:spMkLst>
            <pc:docMk/>
            <pc:sldMk cId="2826303449" sldId="2174"/>
            <ac:spMk id="33" creationId="{AA35D460-C892-4B10-9EC0-CBB254784F0F}"/>
          </ac:spMkLst>
        </pc:spChg>
        <pc:spChg chg="add mod">
          <ac:chgData name="Aurelien Domont" userId="6da7715ce44349b3" providerId="LiveId" clId="{FC254C3F-0DA2-4768-8E5C-80D9632154D7}" dt="2021-05-21T05:25:27.297" v="6514" actId="207"/>
          <ac:spMkLst>
            <pc:docMk/>
            <pc:sldMk cId="2826303449" sldId="2174"/>
            <ac:spMk id="34" creationId="{A9CD1C23-B252-4F5C-B241-662F7FC0E014}"/>
          </ac:spMkLst>
        </pc:spChg>
        <pc:spChg chg="add mod">
          <ac:chgData name="Aurelien Domont" userId="6da7715ce44349b3" providerId="LiveId" clId="{FC254C3F-0DA2-4768-8E5C-80D9632154D7}" dt="2021-05-21T05:25:27.297" v="6514" actId="207"/>
          <ac:spMkLst>
            <pc:docMk/>
            <pc:sldMk cId="2826303449" sldId="2174"/>
            <ac:spMk id="35" creationId="{1840DC24-6AD9-4A79-9CFD-8E3CECC35C55}"/>
          </ac:spMkLst>
        </pc:spChg>
        <pc:spChg chg="add mod">
          <ac:chgData name="Aurelien Domont" userId="6da7715ce44349b3" providerId="LiveId" clId="{FC254C3F-0DA2-4768-8E5C-80D9632154D7}" dt="2021-05-21T05:25:27.297" v="6514" actId="207"/>
          <ac:spMkLst>
            <pc:docMk/>
            <pc:sldMk cId="2826303449" sldId="2174"/>
            <ac:spMk id="36" creationId="{80E41528-6D0D-49D0-B90D-0FBB3C43E966}"/>
          </ac:spMkLst>
        </pc:spChg>
        <pc:spChg chg="add mod">
          <ac:chgData name="Aurelien Domont" userId="6da7715ce44349b3" providerId="LiveId" clId="{FC254C3F-0DA2-4768-8E5C-80D9632154D7}" dt="2021-05-21T05:25:27.297" v="6514" actId="207"/>
          <ac:spMkLst>
            <pc:docMk/>
            <pc:sldMk cId="2826303449" sldId="2174"/>
            <ac:spMk id="37" creationId="{6F8476AC-84C9-4CCE-A24B-70A1AC14E37C}"/>
          </ac:spMkLst>
        </pc:spChg>
        <pc:spChg chg="add mod">
          <ac:chgData name="Aurelien Domont" userId="6da7715ce44349b3" providerId="LiveId" clId="{FC254C3F-0DA2-4768-8E5C-80D9632154D7}" dt="2021-05-21T05:29:44.903" v="6609"/>
          <ac:spMkLst>
            <pc:docMk/>
            <pc:sldMk cId="2826303449" sldId="2174"/>
            <ac:spMk id="38" creationId="{ADBAC328-B66A-48C6-A762-CEADDF413E82}"/>
          </ac:spMkLst>
        </pc:spChg>
        <pc:spChg chg="add del mod">
          <ac:chgData name="Aurelien Domont" userId="6da7715ce44349b3" providerId="LiveId" clId="{FC254C3F-0DA2-4768-8E5C-80D9632154D7}" dt="2021-05-21T05:24:16.272" v="6454" actId="478"/>
          <ac:spMkLst>
            <pc:docMk/>
            <pc:sldMk cId="2826303449" sldId="2174"/>
            <ac:spMk id="39" creationId="{011184BE-E3A1-4AF9-9871-53AC34A9FDCC}"/>
          </ac:spMkLst>
        </pc:spChg>
        <pc:spChg chg="add del mod">
          <ac:chgData name="Aurelien Domont" userId="6da7715ce44349b3" providerId="LiveId" clId="{FC254C3F-0DA2-4768-8E5C-80D9632154D7}" dt="2021-05-21T05:24:16.272" v="6454" actId="478"/>
          <ac:spMkLst>
            <pc:docMk/>
            <pc:sldMk cId="2826303449" sldId="2174"/>
            <ac:spMk id="40" creationId="{47373D44-8F4E-4328-B35D-9E0C0FDEE760}"/>
          </ac:spMkLst>
        </pc:spChg>
        <pc:spChg chg="add del mod">
          <ac:chgData name="Aurelien Domont" userId="6da7715ce44349b3" providerId="LiveId" clId="{FC254C3F-0DA2-4768-8E5C-80D9632154D7}" dt="2021-05-21T05:24:16.272" v="6454" actId="478"/>
          <ac:spMkLst>
            <pc:docMk/>
            <pc:sldMk cId="2826303449" sldId="2174"/>
            <ac:spMk id="41" creationId="{FD1049AA-8A02-49F1-8606-74A5A17DCA3F}"/>
          </ac:spMkLst>
        </pc:spChg>
        <pc:spChg chg="add del mod">
          <ac:chgData name="Aurelien Domont" userId="6da7715ce44349b3" providerId="LiveId" clId="{FC254C3F-0DA2-4768-8E5C-80D9632154D7}" dt="2021-05-21T05:24:16.272" v="6454" actId="478"/>
          <ac:spMkLst>
            <pc:docMk/>
            <pc:sldMk cId="2826303449" sldId="2174"/>
            <ac:spMk id="42" creationId="{8C00F2A2-B7A6-470E-AB00-709EC46C5AB1}"/>
          </ac:spMkLst>
        </pc:spChg>
        <pc:spChg chg="add mod">
          <ac:chgData name="Aurelien Domont" userId="6da7715ce44349b3" providerId="LiveId" clId="{FC254C3F-0DA2-4768-8E5C-80D9632154D7}" dt="2021-05-21T05:25:10.805" v="6512" actId="20577"/>
          <ac:spMkLst>
            <pc:docMk/>
            <pc:sldMk cId="2826303449" sldId="2174"/>
            <ac:spMk id="43" creationId="{CDAC9E33-CD3F-46AE-9A3B-1D828686C6DB}"/>
          </ac:spMkLst>
        </pc:spChg>
        <pc:spChg chg="add mod">
          <ac:chgData name="Aurelien Domont" userId="6da7715ce44349b3" providerId="LiveId" clId="{FC254C3F-0DA2-4768-8E5C-80D9632154D7}" dt="2021-05-21T05:25:04.606" v="6490" actId="20577"/>
          <ac:spMkLst>
            <pc:docMk/>
            <pc:sldMk cId="2826303449" sldId="2174"/>
            <ac:spMk id="44" creationId="{58FFB25E-48BE-49EC-AB5F-4B39FDBC21EA}"/>
          </ac:spMkLst>
        </pc:spChg>
        <pc:picChg chg="del">
          <ac:chgData name="Aurelien Domont" userId="6da7715ce44349b3" providerId="LiveId" clId="{FC254C3F-0DA2-4768-8E5C-80D9632154D7}" dt="2021-05-21T05:22:00.464" v="6372" actId="478"/>
          <ac:picMkLst>
            <pc:docMk/>
            <pc:sldMk cId="2826303449" sldId="2174"/>
            <ac:picMk id="23" creationId="{67975E7E-1A86-4ACC-83E3-5B3EB0E3B728}"/>
          </ac:picMkLst>
        </pc:picChg>
        <pc:cxnChg chg="del">
          <ac:chgData name="Aurelien Domont" userId="6da7715ce44349b3" providerId="LiveId" clId="{FC254C3F-0DA2-4768-8E5C-80D9632154D7}" dt="2021-05-21T05:22:00.464" v="6372" actId="478"/>
          <ac:cxnSpMkLst>
            <pc:docMk/>
            <pc:sldMk cId="2826303449" sldId="2174"/>
            <ac:cxnSpMk id="5" creationId="{00AFC06A-5C5E-4817-8604-00B34BE606D8}"/>
          </ac:cxnSpMkLst>
        </pc:cxnChg>
        <pc:cxnChg chg="del">
          <ac:chgData name="Aurelien Domont" userId="6da7715ce44349b3" providerId="LiveId" clId="{FC254C3F-0DA2-4768-8E5C-80D9632154D7}" dt="2021-05-21T05:22:00.464" v="6372" actId="478"/>
          <ac:cxnSpMkLst>
            <pc:docMk/>
            <pc:sldMk cId="2826303449" sldId="2174"/>
            <ac:cxnSpMk id="22" creationId="{60A3B7B3-C031-4667-81D6-FBC426F9A3D7}"/>
          </ac:cxnSpMkLst>
        </pc:cxnChg>
      </pc:sldChg>
      <pc:sldChg chg="addSp delSp modSp add mod">
        <pc:chgData name="Aurelien Domont" userId="6da7715ce44349b3" providerId="LiveId" clId="{FC254C3F-0DA2-4768-8E5C-80D9632154D7}" dt="2021-05-21T05:29:51.689" v="6613"/>
        <pc:sldMkLst>
          <pc:docMk/>
          <pc:sldMk cId="3324238393" sldId="2175"/>
        </pc:sldMkLst>
        <pc:spChg chg="add del mod">
          <ac:chgData name="Aurelien Domont" userId="6da7715ce44349b3" providerId="LiveId" clId="{FC254C3F-0DA2-4768-8E5C-80D9632154D7}" dt="2021-05-21T05:27:53.227" v="6587" actId="478"/>
          <ac:spMkLst>
            <pc:docMk/>
            <pc:sldMk cId="3324238393" sldId="2175"/>
            <ac:spMk id="2" creationId="{B1AE0011-272E-46CF-BE10-68A981ACA14B}"/>
          </ac:spMkLst>
        </pc:spChg>
        <pc:spChg chg="add mod ord">
          <ac:chgData name="Aurelien Domont" userId="6da7715ce44349b3" providerId="LiveId" clId="{FC254C3F-0DA2-4768-8E5C-80D9632154D7}" dt="2021-05-21T05:27:59.390" v="6589" actId="14100"/>
          <ac:spMkLst>
            <pc:docMk/>
            <pc:sldMk cId="3324238393" sldId="2175"/>
            <ac:spMk id="17" creationId="{2D67886B-EE66-408F-B12C-0E9272F68B81}"/>
          </ac:spMkLst>
        </pc:spChg>
        <pc:spChg chg="add mod">
          <ac:chgData name="Aurelien Domont" userId="6da7715ce44349b3" providerId="LiveId" clId="{FC254C3F-0DA2-4768-8E5C-80D9632154D7}" dt="2021-05-21T05:27:30.228" v="6580" actId="14100"/>
          <ac:spMkLst>
            <pc:docMk/>
            <pc:sldMk cId="3324238393" sldId="2175"/>
            <ac:spMk id="18" creationId="{60954C97-03A1-4F8F-82B0-8544FD27A1F8}"/>
          </ac:spMkLst>
        </pc:spChg>
        <pc:spChg chg="add del mod">
          <ac:chgData name="Aurelien Domont" userId="6da7715ce44349b3" providerId="LiveId" clId="{FC254C3F-0DA2-4768-8E5C-80D9632154D7}" dt="2021-05-21T05:28:20.429" v="6596" actId="478"/>
          <ac:spMkLst>
            <pc:docMk/>
            <pc:sldMk cId="3324238393" sldId="2175"/>
            <ac:spMk id="19" creationId="{351638CB-3752-4C9F-BE90-D36B4FDD2A42}"/>
          </ac:spMkLst>
        </pc:spChg>
        <pc:spChg chg="add del mod">
          <ac:chgData name="Aurelien Domont" userId="6da7715ce44349b3" providerId="LiveId" clId="{FC254C3F-0DA2-4768-8E5C-80D9632154D7}" dt="2021-05-21T05:28:20.429" v="6596" actId="478"/>
          <ac:spMkLst>
            <pc:docMk/>
            <pc:sldMk cId="3324238393" sldId="2175"/>
            <ac:spMk id="20" creationId="{A6CDDAC2-5838-445E-9BDE-BB98800A0E08}"/>
          </ac:spMkLst>
        </pc:spChg>
        <pc:spChg chg="add mod">
          <ac:chgData name="Aurelien Domont" userId="6da7715ce44349b3" providerId="LiveId" clId="{FC254C3F-0DA2-4768-8E5C-80D9632154D7}" dt="2021-05-21T05:28:13.125" v="6594"/>
          <ac:spMkLst>
            <pc:docMk/>
            <pc:sldMk cId="3324238393" sldId="2175"/>
            <ac:spMk id="22" creationId="{8E01C535-83E0-4037-A5E0-B048CA9F5839}"/>
          </ac:spMkLst>
        </pc:spChg>
        <pc:spChg chg="add mod">
          <ac:chgData name="Aurelien Domont" userId="6da7715ce44349b3" providerId="LiveId" clId="{FC254C3F-0DA2-4768-8E5C-80D9632154D7}" dt="2021-05-21T05:29:51.689" v="6613"/>
          <ac:spMkLst>
            <pc:docMk/>
            <pc:sldMk cId="3324238393" sldId="2175"/>
            <ac:spMk id="23" creationId="{4D5D024D-039F-4F29-88DA-E3E10AADB75F}"/>
          </ac:spMkLst>
        </pc:spChg>
        <pc:spChg chg="mod">
          <ac:chgData name="Aurelien Domont" userId="6da7715ce44349b3" providerId="LiveId" clId="{FC254C3F-0DA2-4768-8E5C-80D9632154D7}" dt="2021-05-21T05:29:48.539" v="6612"/>
          <ac:spMkLst>
            <pc:docMk/>
            <pc:sldMk cId="3324238393" sldId="2175"/>
            <ac:spMk id="38" creationId="{ADBAC328-B66A-48C6-A762-CEADDF413E82}"/>
          </ac:spMkLst>
        </pc:spChg>
      </pc:sldChg>
      <pc:sldChg chg="addSp delSp modSp add mod">
        <pc:chgData name="Aurelien Domont" userId="6da7715ce44349b3" providerId="LiveId" clId="{FC254C3F-0DA2-4768-8E5C-80D9632154D7}" dt="2021-05-21T05:44:17.357" v="6775" actId="113"/>
        <pc:sldMkLst>
          <pc:docMk/>
          <pc:sldMk cId="1141822668" sldId="2176"/>
        </pc:sldMkLst>
        <pc:spChg chg="add del mod">
          <ac:chgData name="Aurelien Domont" userId="6da7715ce44349b3" providerId="LiveId" clId="{FC254C3F-0DA2-4768-8E5C-80D9632154D7}" dt="2021-05-21T05:43:54.517" v="6769" actId="478"/>
          <ac:spMkLst>
            <pc:docMk/>
            <pc:sldMk cId="1141822668" sldId="2176"/>
            <ac:spMk id="2" creationId="{BE89546C-A8BB-4970-A688-848C20BBFADE}"/>
          </ac:spMkLst>
        </pc:spChg>
        <pc:spChg chg="add del mod">
          <ac:chgData name="Aurelien Domont" userId="6da7715ce44349b3" providerId="LiveId" clId="{FC254C3F-0DA2-4768-8E5C-80D9632154D7}" dt="2021-05-21T05:36:49.772" v="6681" actId="478"/>
          <ac:spMkLst>
            <pc:docMk/>
            <pc:sldMk cId="1141822668" sldId="2176"/>
            <ac:spMk id="8" creationId="{A8B174DC-D9F6-405D-87BC-8C44B3CAECFD}"/>
          </ac:spMkLst>
        </pc:spChg>
        <pc:spChg chg="add del mod">
          <ac:chgData name="Aurelien Domont" userId="6da7715ce44349b3" providerId="LiveId" clId="{FC254C3F-0DA2-4768-8E5C-80D9632154D7}" dt="2021-05-21T05:39:50.459" v="6723" actId="478"/>
          <ac:spMkLst>
            <pc:docMk/>
            <pc:sldMk cId="1141822668" sldId="2176"/>
            <ac:spMk id="10" creationId="{420CB5DD-0537-44EC-8ACE-33309A2F5B53}"/>
          </ac:spMkLst>
        </pc:spChg>
        <pc:spChg chg="mod">
          <ac:chgData name="Aurelien Domont" userId="6da7715ce44349b3" providerId="LiveId" clId="{FC254C3F-0DA2-4768-8E5C-80D9632154D7}" dt="2021-05-21T05:36:46.718" v="6680" actId="313"/>
          <ac:spMkLst>
            <pc:docMk/>
            <pc:sldMk cId="1141822668" sldId="2176"/>
            <ac:spMk id="16" creationId="{6C2BB713-9637-4B9B-938F-E9768876782A}"/>
          </ac:spMkLst>
        </pc:spChg>
        <pc:graphicFrameChg chg="del">
          <ac:chgData name="Aurelien Domont" userId="6da7715ce44349b3" providerId="LiveId" clId="{FC254C3F-0DA2-4768-8E5C-80D9632154D7}" dt="2021-05-21T05:36:25.477" v="6673" actId="478"/>
          <ac:graphicFrameMkLst>
            <pc:docMk/>
            <pc:sldMk cId="1141822668" sldId="2176"/>
            <ac:graphicFrameMk id="5" creationId="{EC9A5040-7A95-43F9-B671-0F0285DEB5DD}"/>
          </ac:graphicFrameMkLst>
        </pc:graphicFrameChg>
        <pc:graphicFrameChg chg="add mod modGraphic">
          <ac:chgData name="Aurelien Domont" userId="6da7715ce44349b3" providerId="LiveId" clId="{FC254C3F-0DA2-4768-8E5C-80D9632154D7}" dt="2021-05-21T05:44:17.357" v="6775" actId="113"/>
          <ac:graphicFrameMkLst>
            <pc:docMk/>
            <pc:sldMk cId="1141822668" sldId="2176"/>
            <ac:graphicFrameMk id="9" creationId="{E444264D-B8C0-43F0-BB97-5D36633E04CD}"/>
          </ac:graphicFrameMkLst>
        </pc:graphicFrameChg>
      </pc:sldChg>
      <pc:sldChg chg="addSp modSp add mod">
        <pc:chgData name="Aurelien Domont" userId="6da7715ce44349b3" providerId="LiveId" clId="{FC254C3F-0DA2-4768-8E5C-80D9632154D7}" dt="2021-05-21T05:46:20.901" v="6811" actId="20577"/>
        <pc:sldMkLst>
          <pc:docMk/>
          <pc:sldMk cId="3254900428" sldId="2177"/>
        </pc:sldMkLst>
        <pc:spChg chg="add mod">
          <ac:chgData name="Aurelien Domont" userId="6da7715ce44349b3" providerId="LiveId" clId="{FC254C3F-0DA2-4768-8E5C-80D9632154D7}" dt="2021-05-21T05:46:20.901" v="6811" actId="20577"/>
          <ac:spMkLst>
            <pc:docMk/>
            <pc:sldMk cId="3254900428" sldId="2177"/>
            <ac:spMk id="8" creationId="{B18C9CA2-262B-4882-8D5B-748F54D2129B}"/>
          </ac:spMkLst>
        </pc:spChg>
      </pc:sldChg>
      <pc:sldChg chg="addSp modSp add mod">
        <pc:chgData name="Aurelien Domont" userId="6da7715ce44349b3" providerId="LiveId" clId="{FC254C3F-0DA2-4768-8E5C-80D9632154D7}" dt="2021-05-26T03:45:12.407" v="6853" actId="167"/>
        <pc:sldMkLst>
          <pc:docMk/>
          <pc:sldMk cId="483759661" sldId="2178"/>
        </pc:sldMkLst>
        <pc:spChg chg="add mod ord">
          <ac:chgData name="Aurelien Domont" userId="6da7715ce44349b3" providerId="LiveId" clId="{FC254C3F-0DA2-4768-8E5C-80D9632154D7}" dt="2021-05-26T03:45:12.407" v="6853" actId="167"/>
          <ac:spMkLst>
            <pc:docMk/>
            <pc:sldMk cId="483759661" sldId="2178"/>
            <ac:spMk id="15" creationId="{D1D41F39-1E1F-402E-AD1F-A5FDB8A9FE95}"/>
          </ac:spMkLst>
        </pc:spChg>
        <pc:spChg chg="mod">
          <ac:chgData name="Aurelien Domont" userId="6da7715ce44349b3" providerId="LiveId" clId="{FC254C3F-0DA2-4768-8E5C-80D9632154D7}" dt="2021-05-26T03:43:53.445" v="6814"/>
          <ac:spMkLst>
            <pc:docMk/>
            <pc:sldMk cId="483759661" sldId="2178"/>
            <ac:spMk id="16" creationId="{6C2BB713-9637-4B9B-938F-E9768876782A}"/>
          </ac:spMkLst>
        </pc:spChg>
      </pc:sldChg>
      <pc:sldChg chg="modSp add mod">
        <pc:chgData name="Aurelien Domont" userId="6da7715ce44349b3" providerId="LiveId" clId="{FC254C3F-0DA2-4768-8E5C-80D9632154D7}" dt="2021-05-26T03:45:05.472" v="6852" actId="167"/>
        <pc:sldMkLst>
          <pc:docMk/>
          <pc:sldMk cId="3746824585" sldId="2179"/>
        </pc:sldMkLst>
        <pc:spChg chg="ord">
          <ac:chgData name="Aurelien Domont" userId="6da7715ce44349b3" providerId="LiveId" clId="{FC254C3F-0DA2-4768-8E5C-80D9632154D7}" dt="2021-05-26T03:45:05.472" v="6852" actId="167"/>
          <ac:spMkLst>
            <pc:docMk/>
            <pc:sldMk cId="3746824585" sldId="2179"/>
            <ac:spMk id="15" creationId="{D1D41F39-1E1F-402E-AD1F-A5FDB8A9FE95}"/>
          </ac:spMkLst>
        </pc:spChg>
        <pc:spChg chg="mod">
          <ac:chgData name="Aurelien Domont" userId="6da7715ce44349b3" providerId="LiveId" clId="{FC254C3F-0DA2-4768-8E5C-80D9632154D7}" dt="2021-05-26T03:44:53.721" v="6851" actId="20577"/>
          <ac:spMkLst>
            <pc:docMk/>
            <pc:sldMk cId="3746824585" sldId="2179"/>
            <ac:spMk id="16" creationId="{6C2BB713-9637-4B9B-938F-E9768876782A}"/>
          </ac:spMkLst>
        </pc:spChg>
      </pc:sldChg>
      <pc:sldChg chg="modSp add mod">
        <pc:chgData name="Aurelien Domont" userId="6da7715ce44349b3" providerId="LiveId" clId="{FC254C3F-0DA2-4768-8E5C-80D9632154D7}" dt="2021-05-26T03:46:08.468" v="6880" actId="20577"/>
        <pc:sldMkLst>
          <pc:docMk/>
          <pc:sldMk cId="3509969141" sldId="2180"/>
        </pc:sldMkLst>
        <pc:spChg chg="mod">
          <ac:chgData name="Aurelien Domont" userId="6da7715ce44349b3" providerId="LiveId" clId="{FC254C3F-0DA2-4768-8E5C-80D9632154D7}" dt="2021-05-26T03:45:56.422" v="6876" actId="1035"/>
          <ac:spMkLst>
            <pc:docMk/>
            <pc:sldMk cId="3509969141" sldId="2180"/>
            <ac:spMk id="15" creationId="{D1D41F39-1E1F-402E-AD1F-A5FDB8A9FE95}"/>
          </ac:spMkLst>
        </pc:spChg>
        <pc:spChg chg="mod">
          <ac:chgData name="Aurelien Domont" userId="6da7715ce44349b3" providerId="LiveId" clId="{FC254C3F-0DA2-4768-8E5C-80D9632154D7}" dt="2021-05-26T03:46:08.468" v="6880" actId="20577"/>
          <ac:spMkLst>
            <pc:docMk/>
            <pc:sldMk cId="3509969141" sldId="2180"/>
            <ac:spMk id="16" creationId="{6C2BB713-9637-4B9B-938F-E9768876782A}"/>
          </ac:spMkLst>
        </pc:spChg>
      </pc:sldChg>
      <pc:sldChg chg="modSp add mod">
        <pc:chgData name="Aurelien Domont" userId="6da7715ce44349b3" providerId="LiveId" clId="{FC254C3F-0DA2-4768-8E5C-80D9632154D7}" dt="2021-05-26T03:47:23.323" v="6905" actId="20577"/>
        <pc:sldMkLst>
          <pc:docMk/>
          <pc:sldMk cId="4076367213" sldId="2181"/>
        </pc:sldMkLst>
        <pc:spChg chg="mod">
          <ac:chgData name="Aurelien Domont" userId="6da7715ce44349b3" providerId="LiveId" clId="{FC254C3F-0DA2-4768-8E5C-80D9632154D7}" dt="2021-05-26T03:47:13.382" v="6901" actId="1035"/>
          <ac:spMkLst>
            <pc:docMk/>
            <pc:sldMk cId="4076367213" sldId="2181"/>
            <ac:spMk id="15" creationId="{D1D41F39-1E1F-402E-AD1F-A5FDB8A9FE95}"/>
          </ac:spMkLst>
        </pc:spChg>
        <pc:spChg chg="mod">
          <ac:chgData name="Aurelien Domont" userId="6da7715ce44349b3" providerId="LiveId" clId="{FC254C3F-0DA2-4768-8E5C-80D9632154D7}" dt="2021-05-26T03:47:23.323" v="6905" actId="20577"/>
          <ac:spMkLst>
            <pc:docMk/>
            <pc:sldMk cId="4076367213" sldId="2181"/>
            <ac:spMk id="16" creationId="{6C2BB713-9637-4B9B-938F-E9768876782A}"/>
          </ac:spMkLst>
        </pc:spChg>
      </pc:sldChg>
      <pc:sldChg chg="modSp add mod">
        <pc:chgData name="Aurelien Domont" userId="6da7715ce44349b3" providerId="LiveId" clId="{FC254C3F-0DA2-4768-8E5C-80D9632154D7}" dt="2021-05-26T03:48:30.244" v="6934" actId="1036"/>
        <pc:sldMkLst>
          <pc:docMk/>
          <pc:sldMk cId="3157585659" sldId="2182"/>
        </pc:sldMkLst>
        <pc:spChg chg="mod ord">
          <ac:chgData name="Aurelien Domont" userId="6da7715ce44349b3" providerId="LiveId" clId="{FC254C3F-0DA2-4768-8E5C-80D9632154D7}" dt="2021-05-26T03:48:30.244" v="6934" actId="1036"/>
          <ac:spMkLst>
            <pc:docMk/>
            <pc:sldMk cId="3157585659" sldId="2182"/>
            <ac:spMk id="15" creationId="{D1D41F39-1E1F-402E-AD1F-A5FDB8A9FE95}"/>
          </ac:spMkLst>
        </pc:spChg>
        <pc:spChg chg="mod">
          <ac:chgData name="Aurelien Domont" userId="6da7715ce44349b3" providerId="LiveId" clId="{FC254C3F-0DA2-4768-8E5C-80D9632154D7}" dt="2021-05-26T03:48:20.596" v="6915" actId="20577"/>
          <ac:spMkLst>
            <pc:docMk/>
            <pc:sldMk cId="3157585659" sldId="2182"/>
            <ac:spMk id="16" creationId="{6C2BB713-9637-4B9B-938F-E9768876782A}"/>
          </ac:spMkLst>
        </pc:spChg>
      </pc:sldChg>
    </pc:docChg>
  </pc:docChgLst>
  <pc:docChgLst>
    <pc:chgData name="Aurelien Domont" userId="6da7715ce44349b3" providerId="LiveId" clId="{2595DC28-D348-47AC-895E-C7EE4570EFF8}"/>
    <pc:docChg chg="custSel addSld modSld">
      <pc:chgData name="Aurelien Domont" userId="6da7715ce44349b3" providerId="LiveId" clId="{2595DC28-D348-47AC-895E-C7EE4570EFF8}" dt="2021-05-26T03:50:55.092" v="62" actId="20577"/>
      <pc:docMkLst>
        <pc:docMk/>
      </pc:docMkLst>
      <pc:sldChg chg="modSp mod">
        <pc:chgData name="Aurelien Domont" userId="6da7715ce44349b3" providerId="LiveId" clId="{2595DC28-D348-47AC-895E-C7EE4570EFF8}" dt="2021-05-26T03:49:27.112" v="4" actId="20577"/>
        <pc:sldMkLst>
          <pc:docMk/>
          <pc:sldMk cId="3131901387" sldId="256"/>
        </pc:sldMkLst>
        <pc:spChg chg="mod">
          <ac:chgData name="Aurelien Domont" userId="6da7715ce44349b3" providerId="LiveId" clId="{2595DC28-D348-47AC-895E-C7EE4570EFF8}" dt="2021-05-26T03:49:27.112" v="4" actId="20577"/>
          <ac:spMkLst>
            <pc:docMk/>
            <pc:sldMk cId="3131901387" sldId="256"/>
            <ac:spMk id="8" creationId="{BF61102C-BCA7-4CBF-AA08-2A8190D41E84}"/>
          </ac:spMkLst>
        </pc:spChg>
      </pc:sldChg>
      <pc:sldChg chg="delSp modSp mod">
        <pc:chgData name="Aurelien Domont" userId="6da7715ce44349b3" providerId="LiveId" clId="{2595DC28-D348-47AC-895E-C7EE4570EFF8}" dt="2021-05-26T03:50:16.368" v="36" actId="478"/>
        <pc:sldMkLst>
          <pc:docMk/>
          <pc:sldMk cId="1454614553" sldId="2150"/>
        </pc:sldMkLst>
        <pc:spChg chg="del">
          <ac:chgData name="Aurelien Domont" userId="6da7715ce44349b3" providerId="LiveId" clId="{2595DC28-D348-47AC-895E-C7EE4570EFF8}" dt="2021-05-26T03:50:16.368" v="36" actId="478"/>
          <ac:spMkLst>
            <pc:docMk/>
            <pc:sldMk cId="1454614553" sldId="2150"/>
            <ac:spMk id="14" creationId="{36A26ACC-668A-45EB-AB81-A5D2319F44E0}"/>
          </ac:spMkLst>
        </pc:spChg>
        <pc:spChg chg="mod">
          <ac:chgData name="Aurelien Domont" userId="6da7715ce44349b3" providerId="LiveId" clId="{2595DC28-D348-47AC-895E-C7EE4570EFF8}" dt="2021-05-26T03:50:11.382" v="35" actId="20577"/>
          <ac:spMkLst>
            <pc:docMk/>
            <pc:sldMk cId="1454614553" sldId="2150"/>
            <ac:spMk id="16" creationId="{6C2BB713-9637-4B9B-938F-E9768876782A}"/>
          </ac:spMkLst>
        </pc:spChg>
        <pc:spChg chg="del">
          <ac:chgData name="Aurelien Domont" userId="6da7715ce44349b3" providerId="LiveId" clId="{2595DC28-D348-47AC-895E-C7EE4570EFF8}" dt="2021-05-26T03:50:16.368" v="36" actId="478"/>
          <ac:spMkLst>
            <pc:docMk/>
            <pc:sldMk cId="1454614553" sldId="2150"/>
            <ac:spMk id="18" creationId="{9A832821-28E7-48AC-A8A2-089BEA8CDC39}"/>
          </ac:spMkLst>
        </pc:spChg>
        <pc:spChg chg="del">
          <ac:chgData name="Aurelien Domont" userId="6da7715ce44349b3" providerId="LiveId" clId="{2595DC28-D348-47AC-895E-C7EE4570EFF8}" dt="2021-05-26T03:50:16.368" v="36" actId="478"/>
          <ac:spMkLst>
            <pc:docMk/>
            <pc:sldMk cId="1454614553" sldId="2150"/>
            <ac:spMk id="19" creationId="{F6B03F74-2EBD-489D-B3D9-985345DDBB2F}"/>
          </ac:spMkLst>
        </pc:spChg>
        <pc:spChg chg="del">
          <ac:chgData name="Aurelien Domont" userId="6da7715ce44349b3" providerId="LiveId" clId="{2595DC28-D348-47AC-895E-C7EE4570EFF8}" dt="2021-05-26T03:50:16.368" v="36" actId="478"/>
          <ac:spMkLst>
            <pc:docMk/>
            <pc:sldMk cId="1454614553" sldId="2150"/>
            <ac:spMk id="26" creationId="{C340F2EE-BA16-482F-BFE4-F0465F9C2085}"/>
          </ac:spMkLst>
        </pc:spChg>
        <pc:spChg chg="del">
          <ac:chgData name="Aurelien Domont" userId="6da7715ce44349b3" providerId="LiveId" clId="{2595DC28-D348-47AC-895E-C7EE4570EFF8}" dt="2021-05-26T03:50:16.368" v="36" actId="478"/>
          <ac:spMkLst>
            <pc:docMk/>
            <pc:sldMk cId="1454614553" sldId="2150"/>
            <ac:spMk id="27" creationId="{BE7FA4F0-3C49-4DE0-BDCC-49225B7F31CF}"/>
          </ac:spMkLst>
        </pc:spChg>
        <pc:spChg chg="del">
          <ac:chgData name="Aurelien Domont" userId="6da7715ce44349b3" providerId="LiveId" clId="{2595DC28-D348-47AC-895E-C7EE4570EFF8}" dt="2021-05-26T03:50:16.368" v="36" actId="478"/>
          <ac:spMkLst>
            <pc:docMk/>
            <pc:sldMk cId="1454614553" sldId="2150"/>
            <ac:spMk id="29" creationId="{EBEF7E50-77EE-4FFC-9C8F-5F1C532B51AE}"/>
          </ac:spMkLst>
        </pc:spChg>
        <pc:cxnChg chg="del">
          <ac:chgData name="Aurelien Domont" userId="6da7715ce44349b3" providerId="LiveId" clId="{2595DC28-D348-47AC-895E-C7EE4570EFF8}" dt="2021-05-26T03:50:16.368" v="36" actId="478"/>
          <ac:cxnSpMkLst>
            <pc:docMk/>
            <pc:sldMk cId="1454614553" sldId="2150"/>
            <ac:cxnSpMk id="23" creationId="{9524914C-01E2-4876-AA5F-45B90B2C700C}"/>
          </ac:cxnSpMkLst>
        </pc:cxnChg>
        <pc:cxnChg chg="del">
          <ac:chgData name="Aurelien Domont" userId="6da7715ce44349b3" providerId="LiveId" clId="{2595DC28-D348-47AC-895E-C7EE4570EFF8}" dt="2021-05-26T03:50:16.368" v="36" actId="478"/>
          <ac:cxnSpMkLst>
            <pc:docMk/>
            <pc:sldMk cId="1454614553" sldId="2150"/>
            <ac:cxnSpMk id="30" creationId="{9E0C0224-1FC0-455B-98BE-E51330CE79E6}"/>
          </ac:cxnSpMkLst>
        </pc:cxnChg>
      </pc:sldChg>
      <pc:sldChg chg="add">
        <pc:chgData name="Aurelien Domont" userId="6da7715ce44349b3" providerId="LiveId" clId="{2595DC28-D348-47AC-895E-C7EE4570EFF8}" dt="2021-05-26T03:50:00.343" v="5"/>
        <pc:sldMkLst>
          <pc:docMk/>
          <pc:sldMk cId="1110778063" sldId="2183"/>
        </pc:sldMkLst>
      </pc:sldChg>
      <pc:sldChg chg="modSp new mod">
        <pc:chgData name="Aurelien Domont" userId="6da7715ce44349b3" providerId="LiveId" clId="{2595DC28-D348-47AC-895E-C7EE4570EFF8}" dt="2021-05-26T03:50:55.092" v="62" actId="20577"/>
        <pc:sldMkLst>
          <pc:docMk/>
          <pc:sldMk cId="4292960502" sldId="2184"/>
        </pc:sldMkLst>
        <pc:spChg chg="mod">
          <ac:chgData name="Aurelien Domont" userId="6da7715ce44349b3" providerId="LiveId" clId="{2595DC28-D348-47AC-895E-C7EE4570EFF8}" dt="2021-05-26T03:50:42.461" v="38"/>
          <ac:spMkLst>
            <pc:docMk/>
            <pc:sldMk cId="4292960502" sldId="2184"/>
            <ac:spMk id="2" creationId="{63F277BE-B192-4EBA-977A-D3854CBCD4C8}"/>
          </ac:spMkLst>
        </pc:spChg>
        <pc:spChg chg="mod">
          <ac:chgData name="Aurelien Domont" userId="6da7715ce44349b3" providerId="LiveId" clId="{2595DC28-D348-47AC-895E-C7EE4570EFF8}" dt="2021-05-26T03:50:55.092" v="62" actId="20577"/>
          <ac:spMkLst>
            <pc:docMk/>
            <pc:sldMk cId="4292960502" sldId="2184"/>
            <ac:spMk id="3" creationId="{6BE1B6B4-87AF-4A0F-9A81-38B388B86D24}"/>
          </ac:spMkLst>
        </pc:spChg>
      </pc:sld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8A0023AE-969A-4547-AF3A-B7A2EFB890D6}"/>
    <pc:docChg chg="undo custSel addSld delSld modSld sldOrd">
      <pc:chgData name="Aurelien Domont" userId="6da7715ce44349b3" providerId="LiveId" clId="{8A0023AE-969A-4547-AF3A-B7A2EFB890D6}" dt="2022-10-17T23:19:25.400" v="1622" actId="20577"/>
      <pc:docMkLst>
        <pc:docMk/>
      </pc:docMkLst>
      <pc:sldChg chg="addSp delSp modSp mod">
        <pc:chgData name="Aurelien Domont" userId="6da7715ce44349b3" providerId="LiveId" clId="{8A0023AE-969A-4547-AF3A-B7A2EFB890D6}" dt="2022-10-11T22:55:37.868" v="1271" actId="20577"/>
        <pc:sldMkLst>
          <pc:docMk/>
          <pc:sldMk cId="3131901387" sldId="256"/>
        </pc:sldMkLst>
        <pc:spChg chg="mod">
          <ac:chgData name="Aurelien Domont" userId="6da7715ce44349b3" providerId="LiveId" clId="{8A0023AE-969A-4547-AF3A-B7A2EFB890D6}" dt="2022-10-11T22:55:37.868" v="1271" actId="20577"/>
          <ac:spMkLst>
            <pc:docMk/>
            <pc:sldMk cId="3131901387" sldId="256"/>
            <ac:spMk id="2" creationId="{5261080C-C60C-4746-B6B1-A9A4FFA86785}"/>
          </ac:spMkLst>
        </pc:spChg>
        <pc:spChg chg="add mod">
          <ac:chgData name="Aurelien Domont" userId="6da7715ce44349b3" providerId="LiveId" clId="{8A0023AE-969A-4547-AF3A-B7A2EFB890D6}" dt="2022-10-11T01:56:46.931" v="22"/>
          <ac:spMkLst>
            <pc:docMk/>
            <pc:sldMk cId="3131901387" sldId="256"/>
            <ac:spMk id="3" creationId="{DD4B821B-5EE9-EB51-A757-3AFB99D85313}"/>
          </ac:spMkLst>
        </pc:spChg>
        <pc:spChg chg="mod">
          <ac:chgData name="Aurelien Domont" userId="6da7715ce44349b3" providerId="LiveId" clId="{8A0023AE-969A-4547-AF3A-B7A2EFB890D6}" dt="2022-10-11T01:56:54.799" v="23"/>
          <ac:spMkLst>
            <pc:docMk/>
            <pc:sldMk cId="3131901387" sldId="256"/>
            <ac:spMk id="13" creationId="{37FA0443-F8AF-B81D-9BF1-092A1DBB5C42}"/>
          </ac:spMkLst>
        </pc:spChg>
        <pc:spChg chg="mod">
          <ac:chgData name="Aurelien Domont" userId="6da7715ce44349b3" providerId="LiveId" clId="{8A0023AE-969A-4547-AF3A-B7A2EFB890D6}" dt="2022-10-11T01:56:54.799" v="23"/>
          <ac:spMkLst>
            <pc:docMk/>
            <pc:sldMk cId="3131901387" sldId="256"/>
            <ac:spMk id="14" creationId="{E9DC8A55-3026-C0F6-64B9-3008647EDB47}"/>
          </ac:spMkLst>
        </pc:spChg>
        <pc:grpChg chg="add mod">
          <ac:chgData name="Aurelien Domont" userId="6da7715ce44349b3" providerId="LiveId" clId="{8A0023AE-969A-4547-AF3A-B7A2EFB890D6}" dt="2022-10-11T01:56:54.799" v="23"/>
          <ac:grpSpMkLst>
            <pc:docMk/>
            <pc:sldMk cId="3131901387" sldId="256"/>
            <ac:grpSpMk id="4" creationId="{E618FB95-C57A-C97C-DB51-DD7023DBEDF4}"/>
          </ac:grpSpMkLst>
        </pc:grpChg>
        <pc:grpChg chg="del">
          <ac:chgData name="Aurelien Domont" userId="6da7715ce44349b3" providerId="LiveId" clId="{8A0023AE-969A-4547-AF3A-B7A2EFB890D6}" dt="2022-10-11T01:56:46.087" v="21" actId="478"/>
          <ac:grpSpMkLst>
            <pc:docMk/>
            <pc:sldMk cId="3131901387" sldId="256"/>
            <ac:grpSpMk id="5" creationId="{DCC70D54-7ED4-413B-9765-58C9A9D81D3A}"/>
          </ac:grpSpMkLst>
        </pc:grpChg>
        <pc:cxnChg chg="mod">
          <ac:chgData name="Aurelien Domont" userId="6da7715ce44349b3" providerId="LiveId" clId="{8A0023AE-969A-4547-AF3A-B7A2EFB890D6}" dt="2022-10-11T01:56:54.799" v="23"/>
          <ac:cxnSpMkLst>
            <pc:docMk/>
            <pc:sldMk cId="3131901387" sldId="256"/>
            <ac:cxnSpMk id="15" creationId="{D4D7F43D-A008-CA64-F4D4-9FC4BC0DBA3D}"/>
          </ac:cxnSpMkLst>
        </pc:cxnChg>
        <pc:cxnChg chg="mod">
          <ac:chgData name="Aurelien Domont" userId="6da7715ce44349b3" providerId="LiveId" clId="{8A0023AE-969A-4547-AF3A-B7A2EFB890D6}" dt="2022-10-11T01:56:54.799" v="23"/>
          <ac:cxnSpMkLst>
            <pc:docMk/>
            <pc:sldMk cId="3131901387" sldId="256"/>
            <ac:cxnSpMk id="17" creationId="{44669AEA-BDD9-3B3D-E8F4-CBB7B8051B47}"/>
          </ac:cxnSpMkLst>
        </pc:cxnChg>
      </pc:sldChg>
      <pc:sldChg chg="modSp">
        <pc:chgData name="Aurelien Domont" userId="6da7715ce44349b3" providerId="LiveId" clId="{8A0023AE-969A-4547-AF3A-B7A2EFB890D6}" dt="2022-10-11T01:55:19.018" v="19"/>
        <pc:sldMkLst>
          <pc:docMk/>
          <pc:sldMk cId="622165058" sldId="1482"/>
        </pc:sldMkLst>
        <pc:spChg chg="mod">
          <ac:chgData name="Aurelien Domont" userId="6da7715ce44349b3" providerId="LiveId" clId="{8A0023AE-969A-4547-AF3A-B7A2EFB890D6}" dt="2022-10-11T01:55:19.018" v="19"/>
          <ac:spMkLst>
            <pc:docMk/>
            <pc:sldMk cId="622165058" sldId="1482"/>
            <ac:spMk id="3" creationId="{B9E1AEC0-774E-46C8-A62D-3910D85E1DC4}"/>
          </ac:spMkLst>
        </pc:spChg>
        <pc:spChg chg="mod">
          <ac:chgData name="Aurelien Domont" userId="6da7715ce44349b3" providerId="LiveId" clId="{8A0023AE-969A-4547-AF3A-B7A2EFB890D6}" dt="2022-10-11T01:55:19.018" v="19"/>
          <ac:spMkLst>
            <pc:docMk/>
            <pc:sldMk cId="622165058" sldId="1482"/>
            <ac:spMk id="16" creationId="{6C2BB713-9637-4B9B-938F-E9768876782A}"/>
          </ac:spMkLst>
        </pc:spChg>
      </pc:sldChg>
      <pc:sldChg chg="addSp delSp modSp mod">
        <pc:chgData name="Aurelien Domont" userId="6da7715ce44349b3" providerId="LiveId" clId="{8A0023AE-969A-4547-AF3A-B7A2EFB890D6}" dt="2022-10-11T02:13:42.058" v="201" actId="478"/>
        <pc:sldMkLst>
          <pc:docMk/>
          <pc:sldMk cId="3645339576" sldId="1483"/>
        </pc:sldMkLst>
        <pc:spChg chg="mod">
          <ac:chgData name="Aurelien Domont" userId="6da7715ce44349b3" providerId="LiveId" clId="{8A0023AE-969A-4547-AF3A-B7A2EFB890D6}" dt="2022-10-11T01:55:19.018" v="19"/>
          <ac:spMkLst>
            <pc:docMk/>
            <pc:sldMk cId="3645339576" sldId="1483"/>
            <ac:spMk id="3" creationId="{CE2529A3-BA97-486F-9E02-8DFAAA7D8D38}"/>
          </ac:spMkLst>
        </pc:spChg>
        <pc:spChg chg="mod">
          <ac:chgData name="Aurelien Domont" userId="6da7715ce44349b3" providerId="LiveId" clId="{8A0023AE-969A-4547-AF3A-B7A2EFB890D6}" dt="2022-10-11T01:55:19.018" v="19"/>
          <ac:spMkLst>
            <pc:docMk/>
            <pc:sldMk cId="3645339576" sldId="1483"/>
            <ac:spMk id="16" creationId="{6C2BB713-9637-4B9B-938F-E9768876782A}"/>
          </ac:spMkLst>
        </pc:spChg>
        <pc:spChg chg="add del mod">
          <ac:chgData name="Aurelien Domont" userId="6da7715ce44349b3" providerId="LiveId" clId="{8A0023AE-969A-4547-AF3A-B7A2EFB890D6}" dt="2022-10-11T02:13:42.058" v="201" actId="478"/>
          <ac:spMkLst>
            <pc:docMk/>
            <pc:sldMk cId="3645339576" sldId="1483"/>
            <ac:spMk id="24" creationId="{FD932F1F-7DAD-41C0-B64D-07D8F724B9EE}"/>
          </ac:spMkLst>
        </pc:spChg>
        <pc:spChg chg="add del mod">
          <ac:chgData name="Aurelien Domont" userId="6da7715ce44349b3" providerId="LiveId" clId="{8A0023AE-969A-4547-AF3A-B7A2EFB890D6}" dt="2022-10-11T02:13:42.058" v="201" actId="478"/>
          <ac:spMkLst>
            <pc:docMk/>
            <pc:sldMk cId="3645339576" sldId="1483"/>
            <ac:spMk id="27" creationId="{572F62B1-A60B-43C1-989B-9C3AED24ADFD}"/>
          </ac:spMkLst>
        </pc:spChg>
      </pc:sldChg>
      <pc:sldChg chg="modSp del">
        <pc:chgData name="Aurelien Domont" userId="6da7715ce44349b3" providerId="LiveId" clId="{8A0023AE-969A-4547-AF3A-B7A2EFB890D6}" dt="2022-10-11T02:26:38.630" v="223" actId="47"/>
        <pc:sldMkLst>
          <pc:docMk/>
          <pc:sldMk cId="2990524837" sldId="1486"/>
        </pc:sldMkLst>
        <pc:spChg chg="mod">
          <ac:chgData name="Aurelien Domont" userId="6da7715ce44349b3" providerId="LiveId" clId="{8A0023AE-969A-4547-AF3A-B7A2EFB890D6}" dt="2022-10-11T01:55:19.018" v="19"/>
          <ac:spMkLst>
            <pc:docMk/>
            <pc:sldMk cId="2990524837" sldId="1486"/>
            <ac:spMk id="2" creationId="{2536AF49-ACD7-4D4E-88D2-9FCDC3B6DE51}"/>
          </ac:spMkLst>
        </pc:spChg>
        <pc:spChg chg="mod">
          <ac:chgData name="Aurelien Domont" userId="6da7715ce44349b3" providerId="LiveId" clId="{8A0023AE-969A-4547-AF3A-B7A2EFB890D6}" dt="2022-10-11T01:55:19.018" v="19"/>
          <ac:spMkLst>
            <pc:docMk/>
            <pc:sldMk cId="2990524837" sldId="1486"/>
            <ac:spMk id="16" creationId="{6C2BB713-9637-4B9B-938F-E9768876782A}"/>
          </ac:spMkLst>
        </pc:spChg>
      </pc:sldChg>
      <pc:sldChg chg="modSp ord">
        <pc:chgData name="Aurelien Domont" userId="6da7715ce44349b3" providerId="LiveId" clId="{8A0023AE-969A-4547-AF3A-B7A2EFB890D6}" dt="2022-10-11T02:45:54.462" v="622"/>
        <pc:sldMkLst>
          <pc:docMk/>
          <pc:sldMk cId="3072119178" sldId="1488"/>
        </pc:sldMkLst>
        <pc:spChg chg="mod">
          <ac:chgData name="Aurelien Domont" userId="6da7715ce44349b3" providerId="LiveId" clId="{8A0023AE-969A-4547-AF3A-B7A2EFB890D6}" dt="2022-10-11T01:55:19.018" v="19"/>
          <ac:spMkLst>
            <pc:docMk/>
            <pc:sldMk cId="3072119178" sldId="1488"/>
            <ac:spMk id="3" creationId="{E0AB9263-0282-4E3F-BDCD-4331A35E5429}"/>
          </ac:spMkLst>
        </pc:spChg>
        <pc:spChg chg="mod">
          <ac:chgData name="Aurelien Domont" userId="6da7715ce44349b3" providerId="LiveId" clId="{8A0023AE-969A-4547-AF3A-B7A2EFB890D6}" dt="2022-10-11T01:55:19.018" v="19"/>
          <ac:spMkLst>
            <pc:docMk/>
            <pc:sldMk cId="3072119178" sldId="1488"/>
            <ac:spMk id="16" creationId="{6C2BB713-9637-4B9B-938F-E9768876782A}"/>
          </ac:spMkLst>
        </pc:spChg>
      </pc:sldChg>
      <pc:sldChg chg="delSp modSp mod ord">
        <pc:chgData name="Aurelien Domont" userId="6da7715ce44349b3" providerId="LiveId" clId="{8A0023AE-969A-4547-AF3A-B7A2EFB890D6}" dt="2022-10-17T03:55:50.704" v="1620" actId="20577"/>
        <pc:sldMkLst>
          <pc:docMk/>
          <pc:sldMk cId="926313830" sldId="1489"/>
        </pc:sldMkLst>
        <pc:spChg chg="mod">
          <ac:chgData name="Aurelien Domont" userId="6da7715ce44349b3" providerId="LiveId" clId="{8A0023AE-969A-4547-AF3A-B7A2EFB890D6}" dt="2022-10-11T01:55:19.018" v="19"/>
          <ac:spMkLst>
            <pc:docMk/>
            <pc:sldMk cId="926313830" sldId="1489"/>
            <ac:spMk id="2" creationId="{22EF2672-9FD3-409C-B240-DBC2529054AC}"/>
          </ac:spMkLst>
        </pc:spChg>
        <pc:spChg chg="del">
          <ac:chgData name="Aurelien Domont" userId="6da7715ce44349b3" providerId="LiveId" clId="{8A0023AE-969A-4547-AF3A-B7A2EFB890D6}" dt="2022-10-11T02:45:58.479" v="624" actId="478"/>
          <ac:spMkLst>
            <pc:docMk/>
            <pc:sldMk cId="926313830" sldId="1489"/>
            <ac:spMk id="6" creationId="{468EAADD-4AAB-455C-A48F-C536362E3405}"/>
          </ac:spMkLst>
        </pc:spChg>
        <pc:spChg chg="mod">
          <ac:chgData name="Aurelien Domont" userId="6da7715ce44349b3" providerId="LiveId" clId="{8A0023AE-969A-4547-AF3A-B7A2EFB890D6}" dt="2022-10-11T01:55:19.018" v="19"/>
          <ac:spMkLst>
            <pc:docMk/>
            <pc:sldMk cId="926313830" sldId="1489"/>
            <ac:spMk id="16" creationId="{6C2BB713-9637-4B9B-938F-E9768876782A}"/>
          </ac:spMkLst>
        </pc:spChg>
        <pc:graphicFrameChg chg="modGraphic">
          <ac:chgData name="Aurelien Domont" userId="6da7715ce44349b3" providerId="LiveId" clId="{8A0023AE-969A-4547-AF3A-B7A2EFB890D6}" dt="2022-10-17T03:55:50.704" v="1620" actId="20577"/>
          <ac:graphicFrameMkLst>
            <pc:docMk/>
            <pc:sldMk cId="926313830" sldId="1489"/>
            <ac:graphicFrameMk id="12" creationId="{C4FB94D5-9A0B-485F-BDA1-764C16AA774A}"/>
          </ac:graphicFrameMkLst>
        </pc:graphicFrameChg>
      </pc:sldChg>
      <pc:sldChg chg="addSp delSp modSp mod ord">
        <pc:chgData name="Aurelien Domont" userId="6da7715ce44349b3" providerId="LiveId" clId="{8A0023AE-969A-4547-AF3A-B7A2EFB890D6}" dt="2022-10-14T03:17:03.580" v="1401" actId="207"/>
        <pc:sldMkLst>
          <pc:docMk/>
          <pc:sldMk cId="3370215172" sldId="1490"/>
        </pc:sldMkLst>
        <pc:spChg chg="mod">
          <ac:chgData name="Aurelien Domont" userId="6da7715ce44349b3" providerId="LiveId" clId="{8A0023AE-969A-4547-AF3A-B7A2EFB890D6}" dt="2022-10-11T01:55:19.018" v="19"/>
          <ac:spMkLst>
            <pc:docMk/>
            <pc:sldMk cId="3370215172" sldId="1490"/>
            <ac:spMk id="2" creationId="{E274897A-7AD7-4B06-8D80-F2432E9AA6C2}"/>
          </ac:spMkLst>
        </pc:spChg>
        <pc:spChg chg="mod">
          <ac:chgData name="Aurelien Domont" userId="6da7715ce44349b3" providerId="LiveId" clId="{8A0023AE-969A-4547-AF3A-B7A2EFB890D6}" dt="2022-10-11T01:55:19.018" v="19"/>
          <ac:spMkLst>
            <pc:docMk/>
            <pc:sldMk cId="3370215172" sldId="1490"/>
            <ac:spMk id="16" creationId="{6C2BB713-9637-4B9B-938F-E9768876782A}"/>
          </ac:spMkLst>
        </pc:spChg>
        <pc:spChg chg="mod">
          <ac:chgData name="Aurelien Domont" userId="6da7715ce44349b3" providerId="LiveId" clId="{8A0023AE-969A-4547-AF3A-B7A2EFB890D6}" dt="2022-10-14T03:16:59.626" v="1400" actId="207"/>
          <ac:spMkLst>
            <pc:docMk/>
            <pc:sldMk cId="3370215172" sldId="1490"/>
            <ac:spMk id="32" creationId="{833D1FDE-EDE5-4372-827B-BB8821270CFF}"/>
          </ac:spMkLst>
        </pc:spChg>
        <pc:spChg chg="mod">
          <ac:chgData name="Aurelien Domont" userId="6da7715ce44349b3" providerId="LiveId" clId="{8A0023AE-969A-4547-AF3A-B7A2EFB890D6}" dt="2022-10-14T03:16:52.095" v="1399" actId="207"/>
          <ac:spMkLst>
            <pc:docMk/>
            <pc:sldMk cId="3370215172" sldId="1490"/>
            <ac:spMk id="37" creationId="{AE1B278F-5614-433D-A72F-877ABC8A051A}"/>
          </ac:spMkLst>
        </pc:spChg>
        <pc:spChg chg="mod">
          <ac:chgData name="Aurelien Domont" userId="6da7715ce44349b3" providerId="LiveId" clId="{8A0023AE-969A-4547-AF3A-B7A2EFB890D6}" dt="2022-10-14T03:17:03.580" v="1401" actId="207"/>
          <ac:spMkLst>
            <pc:docMk/>
            <pc:sldMk cId="3370215172" sldId="1490"/>
            <ac:spMk id="38" creationId="{BF03C2EE-A9B9-40EE-89E3-0EF35A1507F8}"/>
          </ac:spMkLst>
        </pc:spChg>
        <pc:spChg chg="mod">
          <ac:chgData name="Aurelien Domont" userId="6da7715ce44349b3" providerId="LiveId" clId="{8A0023AE-969A-4547-AF3A-B7A2EFB890D6}" dt="2022-10-14T03:17:03.580" v="1401" actId="207"/>
          <ac:spMkLst>
            <pc:docMk/>
            <pc:sldMk cId="3370215172" sldId="1490"/>
            <ac:spMk id="39" creationId="{E6AD0EA4-F3F1-457B-944A-E3D972AB0B87}"/>
          </ac:spMkLst>
        </pc:spChg>
        <pc:spChg chg="del">
          <ac:chgData name="Aurelien Domont" userId="6da7715ce44349b3" providerId="LiveId" clId="{8A0023AE-969A-4547-AF3A-B7A2EFB890D6}" dt="2022-10-11T02:46:30.078" v="643" actId="478"/>
          <ac:spMkLst>
            <pc:docMk/>
            <pc:sldMk cId="3370215172" sldId="1490"/>
            <ac:spMk id="40" creationId="{2B885CC5-3556-40EC-BAC0-8972E25FCC26}"/>
          </ac:spMkLst>
        </pc:spChg>
        <pc:spChg chg="add del mod">
          <ac:chgData name="Aurelien Domont" userId="6da7715ce44349b3" providerId="LiveId" clId="{8A0023AE-969A-4547-AF3A-B7A2EFB890D6}" dt="2022-10-11T02:46:30.078" v="643" actId="478"/>
          <ac:spMkLst>
            <pc:docMk/>
            <pc:sldMk cId="3370215172" sldId="1490"/>
            <ac:spMk id="41" creationId="{16755C06-5769-4BCC-AC9B-DD1E79480D21}"/>
          </ac:spMkLst>
        </pc:spChg>
      </pc:sldChg>
      <pc:sldChg chg="addSp modSp mod">
        <pc:chgData name="Aurelien Domont" userId="6da7715ce44349b3" providerId="LiveId" clId="{8A0023AE-969A-4547-AF3A-B7A2EFB890D6}" dt="2022-10-11T02:11:36.143" v="180"/>
        <pc:sldMkLst>
          <pc:docMk/>
          <pc:sldMk cId="359603823" sldId="1539"/>
        </pc:sldMkLst>
        <pc:spChg chg="mod">
          <ac:chgData name="Aurelien Domont" userId="6da7715ce44349b3" providerId="LiveId" clId="{8A0023AE-969A-4547-AF3A-B7A2EFB890D6}" dt="2022-10-11T01:55:19.018" v="19"/>
          <ac:spMkLst>
            <pc:docMk/>
            <pc:sldMk cId="359603823" sldId="1539"/>
            <ac:spMk id="2" creationId="{96F69DFC-5251-4AD4-A696-D2EAA298B52B}"/>
          </ac:spMkLst>
        </pc:spChg>
        <pc:spChg chg="add mod">
          <ac:chgData name="Aurelien Domont" userId="6da7715ce44349b3" providerId="LiveId" clId="{8A0023AE-969A-4547-AF3A-B7A2EFB890D6}" dt="2022-10-11T02:10:15.456" v="142" actId="20577"/>
          <ac:spMkLst>
            <pc:docMk/>
            <pc:sldMk cId="359603823" sldId="1539"/>
            <ac:spMk id="3" creationId="{F77E0F28-54F0-68A2-F7B0-9205DB754A99}"/>
          </ac:spMkLst>
        </pc:spChg>
        <pc:spChg chg="mod">
          <ac:chgData name="Aurelien Domont" userId="6da7715ce44349b3" providerId="LiveId" clId="{8A0023AE-969A-4547-AF3A-B7A2EFB890D6}" dt="2022-10-11T02:11:36.143" v="180"/>
          <ac:spMkLst>
            <pc:docMk/>
            <pc:sldMk cId="359603823" sldId="1539"/>
            <ac:spMk id="16" creationId="{6C2BB713-9637-4B9B-938F-E9768876782A}"/>
          </ac:spMkLst>
        </pc:spChg>
        <pc:spChg chg="mod">
          <ac:chgData name="Aurelien Domont" userId="6da7715ce44349b3" providerId="LiveId" clId="{8A0023AE-969A-4547-AF3A-B7A2EFB890D6}" dt="2022-10-11T02:10:42.791" v="152" actId="20577"/>
          <ac:spMkLst>
            <pc:docMk/>
            <pc:sldMk cId="359603823" sldId="1539"/>
            <ac:spMk id="25" creationId="{C3674615-10B9-482A-99E9-BC21DA4921F8}"/>
          </ac:spMkLst>
        </pc:spChg>
      </pc:sldChg>
      <pc:sldChg chg="addSp modSp del mod">
        <pc:chgData name="Aurelien Domont" userId="6da7715ce44349b3" providerId="LiveId" clId="{8A0023AE-969A-4547-AF3A-B7A2EFB890D6}" dt="2022-10-11T02:11:13.115" v="168" actId="47"/>
        <pc:sldMkLst>
          <pc:docMk/>
          <pc:sldMk cId="3822864552" sldId="1540"/>
        </pc:sldMkLst>
        <pc:spChg chg="mod">
          <ac:chgData name="Aurelien Domont" userId="6da7715ce44349b3" providerId="LiveId" clId="{8A0023AE-969A-4547-AF3A-B7A2EFB890D6}" dt="2022-10-11T01:55:19.018" v="19"/>
          <ac:spMkLst>
            <pc:docMk/>
            <pc:sldMk cId="3822864552" sldId="1540"/>
            <ac:spMk id="2" creationId="{96F69DFC-5251-4AD4-A696-D2EAA298B52B}"/>
          </ac:spMkLst>
        </pc:spChg>
        <pc:spChg chg="add mod">
          <ac:chgData name="Aurelien Domont" userId="6da7715ce44349b3" providerId="LiveId" clId="{8A0023AE-969A-4547-AF3A-B7A2EFB890D6}" dt="2022-10-11T02:11:03.805" v="167"/>
          <ac:spMkLst>
            <pc:docMk/>
            <pc:sldMk cId="3822864552" sldId="1540"/>
            <ac:spMk id="3" creationId="{15721400-D415-B2C8-3707-74D967BE0578}"/>
          </ac:spMkLst>
        </pc:spChg>
        <pc:spChg chg="mod">
          <ac:chgData name="Aurelien Domont" userId="6da7715ce44349b3" providerId="LiveId" clId="{8A0023AE-969A-4547-AF3A-B7A2EFB890D6}" dt="2022-10-11T01:55:19.018" v="19"/>
          <ac:spMkLst>
            <pc:docMk/>
            <pc:sldMk cId="3822864552" sldId="1540"/>
            <ac:spMk id="16" creationId="{6C2BB713-9637-4B9B-938F-E9768876782A}"/>
          </ac:spMkLst>
        </pc:spChg>
        <pc:spChg chg="mod">
          <ac:chgData name="Aurelien Domont" userId="6da7715ce44349b3" providerId="LiveId" clId="{8A0023AE-969A-4547-AF3A-B7A2EFB890D6}" dt="2022-10-11T02:10:51.293" v="156" actId="20577"/>
          <ac:spMkLst>
            <pc:docMk/>
            <pc:sldMk cId="3822864552" sldId="1540"/>
            <ac:spMk id="21" creationId="{94E1EEF6-0E19-4E86-A9BD-A6BED6E516D8}"/>
          </ac:spMkLst>
        </pc:spChg>
        <pc:spChg chg="mod">
          <ac:chgData name="Aurelien Domont" userId="6da7715ce44349b3" providerId="LiveId" clId="{8A0023AE-969A-4547-AF3A-B7A2EFB890D6}" dt="2022-10-11T02:10:55.662" v="166" actId="20577"/>
          <ac:spMkLst>
            <pc:docMk/>
            <pc:sldMk cId="3822864552" sldId="1540"/>
            <ac:spMk id="25" creationId="{C3674615-10B9-482A-99E9-BC21DA4921F8}"/>
          </ac:spMkLst>
        </pc:spChg>
      </pc:sldChg>
      <pc:sldChg chg="addSp modSp mod">
        <pc:chgData name="Aurelien Domont" userId="6da7715ce44349b3" providerId="LiveId" clId="{8A0023AE-969A-4547-AF3A-B7A2EFB890D6}" dt="2022-10-11T02:11:54.987" v="189" actId="20577"/>
        <pc:sldMkLst>
          <pc:docMk/>
          <pc:sldMk cId="396583763" sldId="1541"/>
        </pc:sldMkLst>
        <pc:spChg chg="mod">
          <ac:chgData name="Aurelien Domont" userId="6da7715ce44349b3" providerId="LiveId" clId="{8A0023AE-969A-4547-AF3A-B7A2EFB890D6}" dt="2022-10-11T01:55:19.018" v="19"/>
          <ac:spMkLst>
            <pc:docMk/>
            <pc:sldMk cId="396583763" sldId="1541"/>
            <ac:spMk id="2" creationId="{96F69DFC-5251-4AD4-A696-D2EAA298B52B}"/>
          </ac:spMkLst>
        </pc:spChg>
        <pc:spChg chg="add mod">
          <ac:chgData name="Aurelien Domont" userId="6da7715ce44349b3" providerId="LiveId" clId="{8A0023AE-969A-4547-AF3A-B7A2EFB890D6}" dt="2022-10-11T02:11:54.987" v="189" actId="20577"/>
          <ac:spMkLst>
            <pc:docMk/>
            <pc:sldMk cId="396583763" sldId="1541"/>
            <ac:spMk id="3" creationId="{0F0B6149-1374-BE11-614A-EB55C5BC6208}"/>
          </ac:spMkLst>
        </pc:spChg>
        <pc:spChg chg="mod">
          <ac:chgData name="Aurelien Domont" userId="6da7715ce44349b3" providerId="LiveId" clId="{8A0023AE-969A-4547-AF3A-B7A2EFB890D6}" dt="2022-10-11T01:55:19.018" v="19"/>
          <ac:spMkLst>
            <pc:docMk/>
            <pc:sldMk cId="396583763" sldId="1541"/>
            <ac:spMk id="16" creationId="{6C2BB713-9637-4B9B-938F-E9768876782A}"/>
          </ac:spMkLst>
        </pc:spChg>
      </pc:sldChg>
      <pc:sldChg chg="addSp modSp mod">
        <pc:chgData name="Aurelien Domont" userId="6da7715ce44349b3" providerId="LiveId" clId="{8A0023AE-969A-4547-AF3A-B7A2EFB890D6}" dt="2022-10-11T02:12:49.463" v="194"/>
        <pc:sldMkLst>
          <pc:docMk/>
          <pc:sldMk cId="248084048" sldId="1542"/>
        </pc:sldMkLst>
        <pc:spChg chg="mod">
          <ac:chgData name="Aurelien Domont" userId="6da7715ce44349b3" providerId="LiveId" clId="{8A0023AE-969A-4547-AF3A-B7A2EFB890D6}" dt="2022-10-11T01:55:19.018" v="19"/>
          <ac:spMkLst>
            <pc:docMk/>
            <pc:sldMk cId="248084048" sldId="1542"/>
            <ac:spMk id="2" creationId="{96F69DFC-5251-4AD4-A696-D2EAA298B52B}"/>
          </ac:spMkLst>
        </pc:spChg>
        <pc:spChg chg="add mod">
          <ac:chgData name="Aurelien Domont" userId="6da7715ce44349b3" providerId="LiveId" clId="{8A0023AE-969A-4547-AF3A-B7A2EFB890D6}" dt="2022-10-11T02:12:23.230" v="190"/>
          <ac:spMkLst>
            <pc:docMk/>
            <pc:sldMk cId="248084048" sldId="1542"/>
            <ac:spMk id="3" creationId="{FD04F1A0-8A7B-07D2-82BF-864296378A43}"/>
          </ac:spMkLst>
        </pc:spChg>
        <pc:spChg chg="mod">
          <ac:chgData name="Aurelien Domont" userId="6da7715ce44349b3" providerId="LiveId" clId="{8A0023AE-969A-4547-AF3A-B7A2EFB890D6}" dt="2022-10-11T02:12:49.463" v="194"/>
          <ac:spMkLst>
            <pc:docMk/>
            <pc:sldMk cId="248084048" sldId="1542"/>
            <ac:spMk id="16" creationId="{6C2BB713-9637-4B9B-938F-E9768876782A}"/>
          </ac:spMkLst>
        </pc:spChg>
      </pc:sldChg>
      <pc:sldChg chg="addSp modSp mod">
        <pc:chgData name="Aurelien Domont" userId="6da7715ce44349b3" providerId="LiveId" clId="{8A0023AE-969A-4547-AF3A-B7A2EFB890D6}" dt="2022-10-11T02:12:53.405" v="195"/>
        <pc:sldMkLst>
          <pc:docMk/>
          <pc:sldMk cId="1881042919" sldId="1543"/>
        </pc:sldMkLst>
        <pc:spChg chg="mod">
          <ac:chgData name="Aurelien Domont" userId="6da7715ce44349b3" providerId="LiveId" clId="{8A0023AE-969A-4547-AF3A-B7A2EFB890D6}" dt="2022-10-11T01:55:19.018" v="19"/>
          <ac:spMkLst>
            <pc:docMk/>
            <pc:sldMk cId="1881042919" sldId="1543"/>
            <ac:spMk id="2" creationId="{96F69DFC-5251-4AD4-A696-D2EAA298B52B}"/>
          </ac:spMkLst>
        </pc:spChg>
        <pc:spChg chg="add mod">
          <ac:chgData name="Aurelien Domont" userId="6da7715ce44349b3" providerId="LiveId" clId="{8A0023AE-969A-4547-AF3A-B7A2EFB890D6}" dt="2022-10-11T02:12:25.963" v="191"/>
          <ac:spMkLst>
            <pc:docMk/>
            <pc:sldMk cId="1881042919" sldId="1543"/>
            <ac:spMk id="3" creationId="{2B110D19-93FC-4C5C-1CC6-901EAA4DC839}"/>
          </ac:spMkLst>
        </pc:spChg>
        <pc:spChg chg="mod">
          <ac:chgData name="Aurelien Domont" userId="6da7715ce44349b3" providerId="LiveId" clId="{8A0023AE-969A-4547-AF3A-B7A2EFB890D6}" dt="2022-10-11T02:12:53.405" v="195"/>
          <ac:spMkLst>
            <pc:docMk/>
            <pc:sldMk cId="1881042919" sldId="1543"/>
            <ac:spMk id="16" creationId="{6C2BB713-9637-4B9B-938F-E9768876782A}"/>
          </ac:spMkLst>
        </pc:spChg>
      </pc:sldChg>
      <pc:sldChg chg="addSp modSp mod">
        <pc:chgData name="Aurelien Domont" userId="6da7715ce44349b3" providerId="LiveId" clId="{8A0023AE-969A-4547-AF3A-B7A2EFB890D6}" dt="2022-10-11T02:12:57.314" v="196"/>
        <pc:sldMkLst>
          <pc:docMk/>
          <pc:sldMk cId="481203502" sldId="1544"/>
        </pc:sldMkLst>
        <pc:spChg chg="mod">
          <ac:chgData name="Aurelien Domont" userId="6da7715ce44349b3" providerId="LiveId" clId="{8A0023AE-969A-4547-AF3A-B7A2EFB890D6}" dt="2022-10-11T01:55:19.018" v="19"/>
          <ac:spMkLst>
            <pc:docMk/>
            <pc:sldMk cId="481203502" sldId="1544"/>
            <ac:spMk id="2" creationId="{96F69DFC-5251-4AD4-A696-D2EAA298B52B}"/>
          </ac:spMkLst>
        </pc:spChg>
        <pc:spChg chg="add mod">
          <ac:chgData name="Aurelien Domont" userId="6da7715ce44349b3" providerId="LiveId" clId="{8A0023AE-969A-4547-AF3A-B7A2EFB890D6}" dt="2022-10-11T02:12:28.487" v="192"/>
          <ac:spMkLst>
            <pc:docMk/>
            <pc:sldMk cId="481203502" sldId="1544"/>
            <ac:spMk id="3" creationId="{5B2FCC24-E061-F698-0500-B636750E7D50}"/>
          </ac:spMkLst>
        </pc:spChg>
        <pc:spChg chg="mod">
          <ac:chgData name="Aurelien Domont" userId="6da7715ce44349b3" providerId="LiveId" clId="{8A0023AE-969A-4547-AF3A-B7A2EFB890D6}" dt="2022-10-11T02:12:57.314" v="196"/>
          <ac:spMkLst>
            <pc:docMk/>
            <pc:sldMk cId="481203502" sldId="1544"/>
            <ac:spMk id="16" creationId="{6C2BB713-9637-4B9B-938F-E9768876782A}"/>
          </ac:spMkLst>
        </pc:spChg>
      </pc:sldChg>
      <pc:sldChg chg="addSp modSp mod">
        <pc:chgData name="Aurelien Domont" userId="6da7715ce44349b3" providerId="LiveId" clId="{8A0023AE-969A-4547-AF3A-B7A2EFB890D6}" dt="2022-10-11T02:13:04.134" v="197"/>
        <pc:sldMkLst>
          <pc:docMk/>
          <pc:sldMk cId="3474761269" sldId="1546"/>
        </pc:sldMkLst>
        <pc:spChg chg="mod">
          <ac:chgData name="Aurelien Domont" userId="6da7715ce44349b3" providerId="LiveId" clId="{8A0023AE-969A-4547-AF3A-B7A2EFB890D6}" dt="2022-10-11T01:55:19.018" v="19"/>
          <ac:spMkLst>
            <pc:docMk/>
            <pc:sldMk cId="3474761269" sldId="1546"/>
            <ac:spMk id="2" creationId="{96F69DFC-5251-4AD4-A696-D2EAA298B52B}"/>
          </ac:spMkLst>
        </pc:spChg>
        <pc:spChg chg="add mod">
          <ac:chgData name="Aurelien Domont" userId="6da7715ce44349b3" providerId="LiveId" clId="{8A0023AE-969A-4547-AF3A-B7A2EFB890D6}" dt="2022-10-11T02:12:31.311" v="193"/>
          <ac:spMkLst>
            <pc:docMk/>
            <pc:sldMk cId="3474761269" sldId="1546"/>
            <ac:spMk id="3" creationId="{3F771590-6EA6-990C-40B4-68BED67E1ADC}"/>
          </ac:spMkLst>
        </pc:spChg>
        <pc:spChg chg="mod">
          <ac:chgData name="Aurelien Domont" userId="6da7715ce44349b3" providerId="LiveId" clId="{8A0023AE-969A-4547-AF3A-B7A2EFB890D6}" dt="2022-10-11T02:13:04.134" v="197"/>
          <ac:spMkLst>
            <pc:docMk/>
            <pc:sldMk cId="3474761269" sldId="1546"/>
            <ac:spMk id="16" creationId="{6C2BB713-9637-4B9B-938F-E9768876782A}"/>
          </ac:spMkLst>
        </pc:spChg>
        <pc:spChg chg="mod">
          <ac:chgData name="Aurelien Domont" userId="6da7715ce44349b3" providerId="LiveId" clId="{8A0023AE-969A-4547-AF3A-B7A2EFB890D6}" dt="2021-07-16T03:57:51.113" v="10" actId="1035"/>
          <ac:spMkLst>
            <pc:docMk/>
            <pc:sldMk cId="3474761269" sldId="1546"/>
            <ac:spMk id="61" creationId="{C63F3555-FD81-4EC6-B8B4-47F9084DFB8E}"/>
          </ac:spMkLst>
        </pc:spChg>
      </pc:sldChg>
      <pc:sldChg chg="modSp del">
        <pc:chgData name="Aurelien Domont" userId="6da7715ce44349b3" providerId="LiveId" clId="{8A0023AE-969A-4547-AF3A-B7A2EFB890D6}" dt="2022-10-11T02:40:28.203" v="516" actId="47"/>
        <pc:sldMkLst>
          <pc:docMk/>
          <pc:sldMk cId="4116996389" sldId="1548"/>
        </pc:sldMkLst>
        <pc:spChg chg="mod">
          <ac:chgData name="Aurelien Domont" userId="6da7715ce44349b3" providerId="LiveId" clId="{8A0023AE-969A-4547-AF3A-B7A2EFB890D6}" dt="2022-10-11T01:55:19.018" v="19"/>
          <ac:spMkLst>
            <pc:docMk/>
            <pc:sldMk cId="4116996389" sldId="1548"/>
            <ac:spMk id="2" creationId="{96F69DFC-5251-4AD4-A696-D2EAA298B52B}"/>
          </ac:spMkLst>
        </pc:spChg>
        <pc:spChg chg="mod">
          <ac:chgData name="Aurelien Domont" userId="6da7715ce44349b3" providerId="LiveId" clId="{8A0023AE-969A-4547-AF3A-B7A2EFB890D6}" dt="2022-10-11T01:55:19.018" v="19"/>
          <ac:spMkLst>
            <pc:docMk/>
            <pc:sldMk cId="4116996389" sldId="1548"/>
            <ac:spMk id="16" creationId="{6C2BB713-9637-4B9B-938F-E9768876782A}"/>
          </ac:spMkLst>
        </pc:spChg>
      </pc:sldChg>
      <pc:sldChg chg="addSp modSp mod">
        <pc:chgData name="Aurelien Domont" userId="6da7715ce44349b3" providerId="LiveId" clId="{8A0023AE-969A-4547-AF3A-B7A2EFB890D6}" dt="2022-10-11T02:41:03.099" v="518"/>
        <pc:sldMkLst>
          <pc:docMk/>
          <pc:sldMk cId="3289359821" sldId="1549"/>
        </pc:sldMkLst>
        <pc:spChg chg="mod">
          <ac:chgData name="Aurelien Domont" userId="6da7715ce44349b3" providerId="LiveId" clId="{8A0023AE-969A-4547-AF3A-B7A2EFB890D6}" dt="2022-10-11T01:55:19.018" v="19"/>
          <ac:spMkLst>
            <pc:docMk/>
            <pc:sldMk cId="3289359821" sldId="1549"/>
            <ac:spMk id="2" creationId="{2536AF49-ACD7-4D4E-88D2-9FCDC3B6DE51}"/>
          </ac:spMkLst>
        </pc:spChg>
        <pc:spChg chg="add mod">
          <ac:chgData name="Aurelien Domont" userId="6da7715ce44349b3" providerId="LiveId" clId="{8A0023AE-969A-4547-AF3A-B7A2EFB890D6}" dt="2022-10-11T02:40:52.272" v="517"/>
          <ac:spMkLst>
            <pc:docMk/>
            <pc:sldMk cId="3289359821" sldId="1549"/>
            <ac:spMk id="3" creationId="{325B7394-3359-B02D-71EC-39E47CBD442F}"/>
          </ac:spMkLst>
        </pc:spChg>
        <pc:spChg chg="mod">
          <ac:chgData name="Aurelien Domont" userId="6da7715ce44349b3" providerId="LiveId" clId="{8A0023AE-969A-4547-AF3A-B7A2EFB890D6}" dt="2022-10-11T02:41:03.099" v="518"/>
          <ac:spMkLst>
            <pc:docMk/>
            <pc:sldMk cId="3289359821" sldId="1549"/>
            <ac:spMk id="16" creationId="{6C2BB713-9637-4B9B-938F-E9768876782A}"/>
          </ac:spMkLst>
        </pc:spChg>
      </pc:sldChg>
      <pc:sldChg chg="modSp del">
        <pc:chgData name="Aurelien Domont" userId="6da7715ce44349b3" providerId="LiveId" clId="{8A0023AE-969A-4547-AF3A-B7A2EFB890D6}" dt="2022-10-11T02:42:05.671" v="551" actId="47"/>
        <pc:sldMkLst>
          <pc:docMk/>
          <pc:sldMk cId="4238157380" sldId="1550"/>
        </pc:sldMkLst>
        <pc:spChg chg="mod">
          <ac:chgData name="Aurelien Domont" userId="6da7715ce44349b3" providerId="LiveId" clId="{8A0023AE-969A-4547-AF3A-B7A2EFB890D6}" dt="2022-10-11T01:55:19.018" v="19"/>
          <ac:spMkLst>
            <pc:docMk/>
            <pc:sldMk cId="4238157380" sldId="1550"/>
            <ac:spMk id="2" creationId="{2536AF49-ACD7-4D4E-88D2-9FCDC3B6DE51}"/>
          </ac:spMkLst>
        </pc:spChg>
        <pc:spChg chg="mod">
          <ac:chgData name="Aurelien Domont" userId="6da7715ce44349b3" providerId="LiveId" clId="{8A0023AE-969A-4547-AF3A-B7A2EFB890D6}" dt="2022-10-11T01:55:19.018" v="19"/>
          <ac:spMkLst>
            <pc:docMk/>
            <pc:sldMk cId="4238157380" sldId="1550"/>
            <ac:spMk id="16" creationId="{6C2BB713-9637-4B9B-938F-E9768876782A}"/>
          </ac:spMkLst>
        </pc:spChg>
        <pc:graphicFrameChg chg="mod">
          <ac:chgData name="Aurelien Domont" userId="6da7715ce44349b3" providerId="LiveId" clId="{8A0023AE-969A-4547-AF3A-B7A2EFB890D6}" dt="2022-10-11T02:41:26.655" v="520" actId="208"/>
          <ac:graphicFrameMkLst>
            <pc:docMk/>
            <pc:sldMk cId="4238157380" sldId="1550"/>
            <ac:graphicFrameMk id="15" creationId="{AA05899A-935F-4E2A-898B-F28CF59A5F05}"/>
          </ac:graphicFrameMkLst>
        </pc:graphicFrameChg>
      </pc:sldChg>
      <pc:sldChg chg="modSp del">
        <pc:chgData name="Aurelien Domont" userId="6da7715ce44349b3" providerId="LiveId" clId="{8A0023AE-969A-4547-AF3A-B7A2EFB890D6}" dt="2022-10-11T02:44:46.069" v="596" actId="47"/>
        <pc:sldMkLst>
          <pc:docMk/>
          <pc:sldMk cId="747031334" sldId="1551"/>
        </pc:sldMkLst>
        <pc:spChg chg="mod">
          <ac:chgData name="Aurelien Domont" userId="6da7715ce44349b3" providerId="LiveId" clId="{8A0023AE-969A-4547-AF3A-B7A2EFB890D6}" dt="2022-10-11T01:55:19.018" v="19"/>
          <ac:spMkLst>
            <pc:docMk/>
            <pc:sldMk cId="747031334" sldId="1551"/>
            <ac:spMk id="2" creationId="{7429A408-5FC2-4717-A331-96379C20200D}"/>
          </ac:spMkLst>
        </pc:spChg>
        <pc:spChg chg="mod">
          <ac:chgData name="Aurelien Domont" userId="6da7715ce44349b3" providerId="LiveId" clId="{8A0023AE-969A-4547-AF3A-B7A2EFB890D6}" dt="2022-10-11T01:55:19.018" v="19"/>
          <ac:spMkLst>
            <pc:docMk/>
            <pc:sldMk cId="747031334" sldId="1551"/>
            <ac:spMk id="16" creationId="{6C2BB713-9637-4B9B-938F-E9768876782A}"/>
          </ac:spMkLst>
        </pc:spChg>
      </pc:sldChg>
      <pc:sldChg chg="modSp del mod">
        <pc:chgData name="Aurelien Domont" userId="6da7715ce44349b3" providerId="LiveId" clId="{8A0023AE-969A-4547-AF3A-B7A2EFB890D6}" dt="2022-10-11T02:09:26.152" v="119" actId="47"/>
        <pc:sldMkLst>
          <pc:docMk/>
          <pc:sldMk cId="729552457" sldId="1580"/>
        </pc:sldMkLst>
        <pc:spChg chg="mod">
          <ac:chgData name="Aurelien Domont" userId="6da7715ce44349b3" providerId="LiveId" clId="{8A0023AE-969A-4547-AF3A-B7A2EFB890D6}" dt="2022-10-11T01:55:19.018" v="19"/>
          <ac:spMkLst>
            <pc:docMk/>
            <pc:sldMk cId="729552457" sldId="1580"/>
            <ac:spMk id="2" creationId="{7E59BDBC-013A-4F26-9A6C-B3762BFDD4CF}"/>
          </ac:spMkLst>
        </pc:spChg>
        <pc:spChg chg="mod">
          <ac:chgData name="Aurelien Domont" userId="6da7715ce44349b3" providerId="LiveId" clId="{8A0023AE-969A-4547-AF3A-B7A2EFB890D6}" dt="2022-10-11T01:55:19.018" v="19"/>
          <ac:spMkLst>
            <pc:docMk/>
            <pc:sldMk cId="729552457" sldId="1580"/>
            <ac:spMk id="16" creationId="{6C2BB713-9637-4B9B-938F-E9768876782A}"/>
          </ac:spMkLst>
        </pc:spChg>
        <pc:spChg chg="mod">
          <ac:chgData name="Aurelien Domont" userId="6da7715ce44349b3" providerId="LiveId" clId="{8A0023AE-969A-4547-AF3A-B7A2EFB890D6}" dt="2022-10-11T02:09:22.845" v="118"/>
          <ac:spMkLst>
            <pc:docMk/>
            <pc:sldMk cId="729552457" sldId="1580"/>
            <ac:spMk id="38" creationId="{7276DE6B-C0AB-4711-B17E-CC16A1739507}"/>
          </ac:spMkLst>
        </pc:spChg>
      </pc:sldChg>
      <pc:sldChg chg="modSp mod ord">
        <pc:chgData name="Aurelien Domont" userId="6da7715ce44349b3" providerId="LiveId" clId="{8A0023AE-969A-4547-AF3A-B7A2EFB890D6}" dt="2022-10-11T03:11:47.342" v="1185"/>
        <pc:sldMkLst>
          <pc:docMk/>
          <pc:sldMk cId="541233884" sldId="1584"/>
        </pc:sldMkLst>
        <pc:spChg chg="mod">
          <ac:chgData name="Aurelien Domont" userId="6da7715ce44349b3" providerId="LiveId" clId="{8A0023AE-969A-4547-AF3A-B7A2EFB890D6}" dt="2022-10-11T01:55:19.018" v="19"/>
          <ac:spMkLst>
            <pc:docMk/>
            <pc:sldMk cId="541233884" sldId="1584"/>
            <ac:spMk id="2" creationId="{96F69DFC-5251-4AD4-A696-D2EAA298B52B}"/>
          </ac:spMkLst>
        </pc:spChg>
        <pc:spChg chg="mod">
          <ac:chgData name="Aurelien Domont" userId="6da7715ce44349b3" providerId="LiveId" clId="{8A0023AE-969A-4547-AF3A-B7A2EFB890D6}" dt="2022-10-11T03:11:40.868" v="1183" actId="20577"/>
          <ac:spMkLst>
            <pc:docMk/>
            <pc:sldMk cId="541233884" sldId="1584"/>
            <ac:spMk id="12" creationId="{1D8BE6D5-37CE-49C8-818A-9BED70D3F374}"/>
          </ac:spMkLst>
        </pc:spChg>
        <pc:spChg chg="mod">
          <ac:chgData name="Aurelien Domont" userId="6da7715ce44349b3" providerId="LiveId" clId="{8A0023AE-969A-4547-AF3A-B7A2EFB890D6}" dt="2022-10-11T03:11:31.881" v="1182" actId="20577"/>
          <ac:spMkLst>
            <pc:docMk/>
            <pc:sldMk cId="541233884" sldId="1584"/>
            <ac:spMk id="16" creationId="{6C2BB713-9637-4B9B-938F-E9768876782A}"/>
          </ac:spMkLst>
        </pc:spChg>
      </pc:sldChg>
      <pc:sldChg chg="modSp del">
        <pc:chgData name="Aurelien Domont" userId="6da7715ce44349b3" providerId="LiveId" clId="{8A0023AE-969A-4547-AF3A-B7A2EFB890D6}" dt="2022-10-11T03:12:50.035" v="1229" actId="47"/>
        <pc:sldMkLst>
          <pc:docMk/>
          <pc:sldMk cId="1221562796" sldId="1585"/>
        </pc:sldMkLst>
        <pc:spChg chg="mod">
          <ac:chgData name="Aurelien Domont" userId="6da7715ce44349b3" providerId="LiveId" clId="{8A0023AE-969A-4547-AF3A-B7A2EFB890D6}" dt="2022-10-11T01:55:19.018" v="19"/>
          <ac:spMkLst>
            <pc:docMk/>
            <pc:sldMk cId="1221562796" sldId="1585"/>
            <ac:spMk id="2" creationId="{96F69DFC-5251-4AD4-A696-D2EAA298B52B}"/>
          </ac:spMkLst>
        </pc:spChg>
        <pc:spChg chg="mod">
          <ac:chgData name="Aurelien Domont" userId="6da7715ce44349b3" providerId="LiveId" clId="{8A0023AE-969A-4547-AF3A-B7A2EFB890D6}" dt="2022-10-11T01:55:19.018" v="19"/>
          <ac:spMkLst>
            <pc:docMk/>
            <pc:sldMk cId="1221562796" sldId="1585"/>
            <ac:spMk id="16" creationId="{6C2BB713-9637-4B9B-938F-E9768876782A}"/>
          </ac:spMkLst>
        </pc:spChg>
      </pc:sldChg>
      <pc:sldChg chg="modSp del">
        <pc:chgData name="Aurelien Domont" userId="6da7715ce44349b3" providerId="LiveId" clId="{8A0023AE-969A-4547-AF3A-B7A2EFB890D6}" dt="2022-10-11T03:12:59.401" v="1230" actId="47"/>
        <pc:sldMkLst>
          <pc:docMk/>
          <pc:sldMk cId="3333724202" sldId="1586"/>
        </pc:sldMkLst>
        <pc:spChg chg="mod">
          <ac:chgData name="Aurelien Domont" userId="6da7715ce44349b3" providerId="LiveId" clId="{8A0023AE-969A-4547-AF3A-B7A2EFB890D6}" dt="2022-10-11T01:55:19.018" v="19"/>
          <ac:spMkLst>
            <pc:docMk/>
            <pc:sldMk cId="3333724202" sldId="1586"/>
            <ac:spMk id="2" creationId="{96F69DFC-5251-4AD4-A696-D2EAA298B52B}"/>
          </ac:spMkLst>
        </pc:spChg>
        <pc:spChg chg="mod">
          <ac:chgData name="Aurelien Domont" userId="6da7715ce44349b3" providerId="LiveId" clId="{8A0023AE-969A-4547-AF3A-B7A2EFB890D6}" dt="2022-10-11T01:55:19.018" v="19"/>
          <ac:spMkLst>
            <pc:docMk/>
            <pc:sldMk cId="3333724202" sldId="1586"/>
            <ac:spMk id="16" creationId="{6C2BB713-9637-4B9B-938F-E9768876782A}"/>
          </ac:spMkLst>
        </pc:spChg>
      </pc:sldChg>
      <pc:sldChg chg="addSp modSp mod">
        <pc:chgData name="Aurelien Domont" userId="6da7715ce44349b3" providerId="LiveId" clId="{8A0023AE-969A-4547-AF3A-B7A2EFB890D6}" dt="2022-10-11T03:13:57.374" v="1262" actId="20577"/>
        <pc:sldMkLst>
          <pc:docMk/>
          <pc:sldMk cId="2328040230" sldId="1587"/>
        </pc:sldMkLst>
        <pc:spChg chg="mod">
          <ac:chgData name="Aurelien Domont" userId="6da7715ce44349b3" providerId="LiveId" clId="{8A0023AE-969A-4547-AF3A-B7A2EFB890D6}" dt="2022-10-11T01:55:19.018" v="19"/>
          <ac:spMkLst>
            <pc:docMk/>
            <pc:sldMk cId="2328040230" sldId="1587"/>
            <ac:spMk id="2" creationId="{A67BEC9B-911F-478E-9C56-72957F18467D}"/>
          </ac:spMkLst>
        </pc:spChg>
        <pc:spChg chg="add mod">
          <ac:chgData name="Aurelien Domont" userId="6da7715ce44349b3" providerId="LiveId" clId="{8A0023AE-969A-4547-AF3A-B7A2EFB890D6}" dt="2022-10-11T03:13:57.374" v="1262" actId="20577"/>
          <ac:spMkLst>
            <pc:docMk/>
            <pc:sldMk cId="2328040230" sldId="1587"/>
            <ac:spMk id="3" creationId="{F7799582-1E40-BDD6-C377-2BDC4F2F61FF}"/>
          </ac:spMkLst>
        </pc:spChg>
        <pc:spChg chg="mod">
          <ac:chgData name="Aurelien Domont" userId="6da7715ce44349b3" providerId="LiveId" clId="{8A0023AE-969A-4547-AF3A-B7A2EFB890D6}" dt="2022-10-11T03:13:12.844" v="1231"/>
          <ac:spMkLst>
            <pc:docMk/>
            <pc:sldMk cId="2328040230" sldId="1587"/>
            <ac:spMk id="14" creationId="{C9800183-F524-4412-AB39-A6E1A21FF0B3}"/>
          </ac:spMkLst>
        </pc:spChg>
      </pc:sldChg>
      <pc:sldChg chg="addSp modSp mod">
        <pc:chgData name="Aurelien Domont" userId="6da7715ce44349b3" providerId="LiveId" clId="{8A0023AE-969A-4547-AF3A-B7A2EFB890D6}" dt="2022-10-11T03:14:00.870" v="1263"/>
        <pc:sldMkLst>
          <pc:docMk/>
          <pc:sldMk cId="416223994" sldId="1588"/>
        </pc:sldMkLst>
        <pc:spChg chg="mod">
          <ac:chgData name="Aurelien Domont" userId="6da7715ce44349b3" providerId="LiveId" clId="{8A0023AE-969A-4547-AF3A-B7A2EFB890D6}" dt="2022-10-11T01:55:19.018" v="19"/>
          <ac:spMkLst>
            <pc:docMk/>
            <pc:sldMk cId="416223994" sldId="1588"/>
            <ac:spMk id="2" creationId="{A67BEC9B-911F-478E-9C56-72957F18467D}"/>
          </ac:spMkLst>
        </pc:spChg>
        <pc:spChg chg="add mod">
          <ac:chgData name="Aurelien Domont" userId="6da7715ce44349b3" providerId="LiveId" clId="{8A0023AE-969A-4547-AF3A-B7A2EFB890D6}" dt="2022-10-11T03:14:00.870" v="1263"/>
          <ac:spMkLst>
            <pc:docMk/>
            <pc:sldMk cId="416223994" sldId="1588"/>
            <ac:spMk id="3" creationId="{A563C13E-B317-742A-AFE8-987DA2B4F4AD}"/>
          </ac:spMkLst>
        </pc:spChg>
        <pc:spChg chg="mod">
          <ac:chgData name="Aurelien Domont" userId="6da7715ce44349b3" providerId="LiveId" clId="{8A0023AE-969A-4547-AF3A-B7A2EFB890D6}" dt="2022-10-11T03:13:16.124" v="1232"/>
          <ac:spMkLst>
            <pc:docMk/>
            <pc:sldMk cId="416223994" sldId="1588"/>
            <ac:spMk id="14" creationId="{C9800183-F524-4412-AB39-A6E1A21FF0B3}"/>
          </ac:spMkLst>
        </pc:spChg>
      </pc:sldChg>
      <pc:sldChg chg="addSp modSp mod">
        <pc:chgData name="Aurelien Domont" userId="6da7715ce44349b3" providerId="LiveId" clId="{8A0023AE-969A-4547-AF3A-B7A2EFB890D6}" dt="2022-10-11T03:14:01.930" v="1264"/>
        <pc:sldMkLst>
          <pc:docMk/>
          <pc:sldMk cId="1962551731" sldId="1589"/>
        </pc:sldMkLst>
        <pc:spChg chg="mod">
          <ac:chgData name="Aurelien Domont" userId="6da7715ce44349b3" providerId="LiveId" clId="{8A0023AE-969A-4547-AF3A-B7A2EFB890D6}" dt="2022-10-11T01:55:19.018" v="19"/>
          <ac:spMkLst>
            <pc:docMk/>
            <pc:sldMk cId="1962551731" sldId="1589"/>
            <ac:spMk id="2" creationId="{A67BEC9B-911F-478E-9C56-72957F18467D}"/>
          </ac:spMkLst>
        </pc:spChg>
        <pc:spChg chg="add mod">
          <ac:chgData name="Aurelien Domont" userId="6da7715ce44349b3" providerId="LiveId" clId="{8A0023AE-969A-4547-AF3A-B7A2EFB890D6}" dt="2022-10-11T03:14:01.930" v="1264"/>
          <ac:spMkLst>
            <pc:docMk/>
            <pc:sldMk cId="1962551731" sldId="1589"/>
            <ac:spMk id="3" creationId="{46B844D2-5683-8A3B-7423-DC73F9B1BD44}"/>
          </ac:spMkLst>
        </pc:spChg>
        <pc:spChg chg="mod">
          <ac:chgData name="Aurelien Domont" userId="6da7715ce44349b3" providerId="LiveId" clId="{8A0023AE-969A-4547-AF3A-B7A2EFB890D6}" dt="2022-10-11T03:13:18.744" v="1233"/>
          <ac:spMkLst>
            <pc:docMk/>
            <pc:sldMk cId="1962551731" sldId="1589"/>
            <ac:spMk id="14" creationId="{C9800183-F524-4412-AB39-A6E1A21FF0B3}"/>
          </ac:spMkLst>
        </pc:spChg>
      </pc:sldChg>
      <pc:sldChg chg="addSp modSp mod">
        <pc:chgData name="Aurelien Domont" userId="6da7715ce44349b3" providerId="LiveId" clId="{8A0023AE-969A-4547-AF3A-B7A2EFB890D6}" dt="2022-10-11T03:14:02.957" v="1265"/>
        <pc:sldMkLst>
          <pc:docMk/>
          <pc:sldMk cId="178148872" sldId="1590"/>
        </pc:sldMkLst>
        <pc:spChg chg="mod">
          <ac:chgData name="Aurelien Domont" userId="6da7715ce44349b3" providerId="LiveId" clId="{8A0023AE-969A-4547-AF3A-B7A2EFB890D6}" dt="2022-10-11T01:55:19.018" v="19"/>
          <ac:spMkLst>
            <pc:docMk/>
            <pc:sldMk cId="178148872" sldId="1590"/>
            <ac:spMk id="2" creationId="{A67BEC9B-911F-478E-9C56-72957F18467D}"/>
          </ac:spMkLst>
        </pc:spChg>
        <pc:spChg chg="add mod">
          <ac:chgData name="Aurelien Domont" userId="6da7715ce44349b3" providerId="LiveId" clId="{8A0023AE-969A-4547-AF3A-B7A2EFB890D6}" dt="2022-10-11T03:14:02.957" v="1265"/>
          <ac:spMkLst>
            <pc:docMk/>
            <pc:sldMk cId="178148872" sldId="1590"/>
            <ac:spMk id="3" creationId="{9604C76D-AB0E-BC02-DF22-D3201CDC75A1}"/>
          </ac:spMkLst>
        </pc:spChg>
        <pc:spChg chg="mod">
          <ac:chgData name="Aurelien Domont" userId="6da7715ce44349b3" providerId="LiveId" clId="{8A0023AE-969A-4547-AF3A-B7A2EFB890D6}" dt="2022-10-11T03:13:22.477" v="1234"/>
          <ac:spMkLst>
            <pc:docMk/>
            <pc:sldMk cId="178148872" sldId="1590"/>
            <ac:spMk id="14" creationId="{C9800183-F524-4412-AB39-A6E1A21FF0B3}"/>
          </ac:spMkLst>
        </pc:spChg>
        <pc:spChg chg="mod">
          <ac:chgData name="Aurelien Domont" userId="6da7715ce44349b3" providerId="LiveId" clId="{8A0023AE-969A-4547-AF3A-B7A2EFB890D6}" dt="2022-10-11T03:13:28.047" v="1235" actId="207"/>
          <ac:spMkLst>
            <pc:docMk/>
            <pc:sldMk cId="178148872" sldId="1590"/>
            <ac:spMk id="20" creationId="{D23D1674-BC28-4291-A1A1-03E12CC06FD3}"/>
          </ac:spMkLst>
        </pc:spChg>
        <pc:spChg chg="mod">
          <ac:chgData name="Aurelien Domont" userId="6da7715ce44349b3" providerId="LiveId" clId="{8A0023AE-969A-4547-AF3A-B7A2EFB890D6}" dt="2022-10-11T03:13:28.047" v="1235" actId="207"/>
          <ac:spMkLst>
            <pc:docMk/>
            <pc:sldMk cId="178148872" sldId="1590"/>
            <ac:spMk id="21" creationId="{89801464-D0C3-4F9A-8A84-7AFDB1A66105}"/>
          </ac:spMkLst>
        </pc:spChg>
        <pc:spChg chg="mod">
          <ac:chgData name="Aurelien Domont" userId="6da7715ce44349b3" providerId="LiveId" clId="{8A0023AE-969A-4547-AF3A-B7A2EFB890D6}" dt="2022-10-11T03:13:28.047" v="1235" actId="207"/>
          <ac:spMkLst>
            <pc:docMk/>
            <pc:sldMk cId="178148872" sldId="1590"/>
            <ac:spMk id="24" creationId="{426B81F3-F191-4892-ACDA-51BCC63EE445}"/>
          </ac:spMkLst>
        </pc:spChg>
        <pc:spChg chg="mod">
          <ac:chgData name="Aurelien Domont" userId="6da7715ce44349b3" providerId="LiveId" clId="{8A0023AE-969A-4547-AF3A-B7A2EFB890D6}" dt="2022-10-11T03:13:28.047" v="1235" actId="207"/>
          <ac:spMkLst>
            <pc:docMk/>
            <pc:sldMk cId="178148872" sldId="1590"/>
            <ac:spMk id="25" creationId="{12E2DE78-87C3-45F9-9DC4-155DAED6771C}"/>
          </ac:spMkLst>
        </pc:spChg>
      </pc:sldChg>
      <pc:sldChg chg="modSp del">
        <pc:chgData name="Aurelien Domont" userId="6da7715ce44349b3" providerId="LiveId" clId="{8A0023AE-969A-4547-AF3A-B7A2EFB890D6}" dt="2022-10-11T03:13:40.309" v="1236" actId="47"/>
        <pc:sldMkLst>
          <pc:docMk/>
          <pc:sldMk cId="2223111182" sldId="1591"/>
        </pc:sldMkLst>
        <pc:spChg chg="mod">
          <ac:chgData name="Aurelien Domont" userId="6da7715ce44349b3" providerId="LiveId" clId="{8A0023AE-969A-4547-AF3A-B7A2EFB890D6}" dt="2022-10-11T01:55:19.018" v="19"/>
          <ac:spMkLst>
            <pc:docMk/>
            <pc:sldMk cId="2223111182" sldId="1591"/>
            <ac:spMk id="2" creationId="{2536AF49-ACD7-4D4E-88D2-9FCDC3B6DE51}"/>
          </ac:spMkLst>
        </pc:spChg>
        <pc:spChg chg="mod">
          <ac:chgData name="Aurelien Domont" userId="6da7715ce44349b3" providerId="LiveId" clId="{8A0023AE-969A-4547-AF3A-B7A2EFB890D6}" dt="2022-10-11T01:55:19.018" v="19"/>
          <ac:spMkLst>
            <pc:docMk/>
            <pc:sldMk cId="2223111182" sldId="1591"/>
            <ac:spMk id="16" creationId="{6C2BB713-9637-4B9B-938F-E9768876782A}"/>
          </ac:spMkLst>
        </pc:spChg>
      </pc:sldChg>
      <pc:sldChg chg="modSp del">
        <pc:chgData name="Aurelien Domont" userId="6da7715ce44349b3" providerId="LiveId" clId="{8A0023AE-969A-4547-AF3A-B7A2EFB890D6}" dt="2022-10-11T03:13:40.309" v="1236" actId="47"/>
        <pc:sldMkLst>
          <pc:docMk/>
          <pc:sldMk cId="4210937184" sldId="1592"/>
        </pc:sldMkLst>
        <pc:spChg chg="mod">
          <ac:chgData name="Aurelien Domont" userId="6da7715ce44349b3" providerId="LiveId" clId="{8A0023AE-969A-4547-AF3A-B7A2EFB890D6}" dt="2022-10-11T01:55:19.018" v="19"/>
          <ac:spMkLst>
            <pc:docMk/>
            <pc:sldMk cId="4210937184" sldId="1592"/>
            <ac:spMk id="2" creationId="{2536AF49-ACD7-4D4E-88D2-9FCDC3B6DE51}"/>
          </ac:spMkLst>
        </pc:spChg>
        <pc:spChg chg="mod">
          <ac:chgData name="Aurelien Domont" userId="6da7715ce44349b3" providerId="LiveId" clId="{8A0023AE-969A-4547-AF3A-B7A2EFB890D6}" dt="2022-10-11T01:55:19.018" v="19"/>
          <ac:spMkLst>
            <pc:docMk/>
            <pc:sldMk cId="4210937184" sldId="1592"/>
            <ac:spMk id="16" creationId="{6C2BB713-9637-4B9B-938F-E9768876782A}"/>
          </ac:spMkLst>
        </pc:spChg>
      </pc:sldChg>
      <pc:sldChg chg="modSp del">
        <pc:chgData name="Aurelien Domont" userId="6da7715ce44349b3" providerId="LiveId" clId="{8A0023AE-969A-4547-AF3A-B7A2EFB890D6}" dt="2022-10-11T03:14:29.628" v="1267" actId="47"/>
        <pc:sldMkLst>
          <pc:docMk/>
          <pc:sldMk cId="1754585881" sldId="1598"/>
        </pc:sldMkLst>
        <pc:spChg chg="mod">
          <ac:chgData name="Aurelien Domont" userId="6da7715ce44349b3" providerId="LiveId" clId="{8A0023AE-969A-4547-AF3A-B7A2EFB890D6}" dt="2022-10-11T01:55:19.018" v="19"/>
          <ac:spMkLst>
            <pc:docMk/>
            <pc:sldMk cId="1754585881" sldId="1598"/>
            <ac:spMk id="6" creationId="{DE0F4260-85F5-47B2-8F90-716F6604029A}"/>
          </ac:spMkLst>
        </pc:spChg>
      </pc:sldChg>
      <pc:sldChg chg="modSp del">
        <pc:chgData name="Aurelien Domont" userId="6da7715ce44349b3" providerId="LiveId" clId="{8A0023AE-969A-4547-AF3A-B7A2EFB890D6}" dt="2022-10-11T03:14:29.628" v="1267" actId="47"/>
        <pc:sldMkLst>
          <pc:docMk/>
          <pc:sldMk cId="748962572" sldId="1599"/>
        </pc:sldMkLst>
        <pc:spChg chg="mod">
          <ac:chgData name="Aurelien Domont" userId="6da7715ce44349b3" providerId="LiveId" clId="{8A0023AE-969A-4547-AF3A-B7A2EFB890D6}" dt="2022-10-11T01:55:19.018" v="19"/>
          <ac:spMkLst>
            <pc:docMk/>
            <pc:sldMk cId="748962572" sldId="1599"/>
            <ac:spMk id="6" creationId="{461FCE6B-D7D6-49AF-83FE-4C16649B34CE}"/>
          </ac:spMkLst>
        </pc:spChg>
      </pc:sldChg>
      <pc:sldChg chg="modSp del">
        <pc:chgData name="Aurelien Domont" userId="6da7715ce44349b3" providerId="LiveId" clId="{8A0023AE-969A-4547-AF3A-B7A2EFB890D6}" dt="2022-10-11T03:14:29.628" v="1267" actId="47"/>
        <pc:sldMkLst>
          <pc:docMk/>
          <pc:sldMk cId="2853806433" sldId="1600"/>
        </pc:sldMkLst>
        <pc:spChg chg="mod">
          <ac:chgData name="Aurelien Domont" userId="6da7715ce44349b3" providerId="LiveId" clId="{8A0023AE-969A-4547-AF3A-B7A2EFB890D6}" dt="2022-10-11T01:55:19.018" v="19"/>
          <ac:spMkLst>
            <pc:docMk/>
            <pc:sldMk cId="2853806433" sldId="1600"/>
            <ac:spMk id="8" creationId="{3D029769-9B2F-4A51-8446-2206A9A2EF30}"/>
          </ac:spMkLst>
        </pc:spChg>
      </pc:sldChg>
      <pc:sldChg chg="delSp modSp add del mod">
        <pc:chgData name="Aurelien Domont" userId="6da7715ce44349b3" providerId="LiveId" clId="{8A0023AE-969A-4547-AF3A-B7A2EFB890D6}" dt="2022-10-11T02:15:17.464" v="215" actId="47"/>
        <pc:sldMkLst>
          <pc:docMk/>
          <pc:sldMk cId="2789291692" sldId="1645"/>
        </pc:sldMkLst>
        <pc:spChg chg="mod">
          <ac:chgData name="Aurelien Domont" userId="6da7715ce44349b3" providerId="LiveId" clId="{8A0023AE-969A-4547-AF3A-B7A2EFB890D6}" dt="2022-10-11T01:55:19.018" v="19"/>
          <ac:spMkLst>
            <pc:docMk/>
            <pc:sldMk cId="2789291692" sldId="1645"/>
            <ac:spMk id="3" creationId="{CE2529A3-BA97-486F-9E02-8DFAAA7D8D38}"/>
          </ac:spMkLst>
        </pc:spChg>
        <pc:spChg chg="mod">
          <ac:chgData name="Aurelien Domont" userId="6da7715ce44349b3" providerId="LiveId" clId="{8A0023AE-969A-4547-AF3A-B7A2EFB890D6}" dt="2022-10-11T01:55:19.018" v="19"/>
          <ac:spMkLst>
            <pc:docMk/>
            <pc:sldMk cId="2789291692" sldId="1645"/>
            <ac:spMk id="16" creationId="{6C2BB713-9637-4B9B-938F-E9768876782A}"/>
          </ac:spMkLst>
        </pc:spChg>
        <pc:spChg chg="del">
          <ac:chgData name="Aurelien Domont" userId="6da7715ce44349b3" providerId="LiveId" clId="{8A0023AE-969A-4547-AF3A-B7A2EFB890D6}" dt="2022-10-11T02:14:07.030" v="207" actId="21"/>
          <ac:spMkLst>
            <pc:docMk/>
            <pc:sldMk cId="2789291692" sldId="1645"/>
            <ac:spMk id="28" creationId="{E2A92161-C2FA-4CD1-870D-4F2C44668993}"/>
          </ac:spMkLst>
        </pc:spChg>
        <pc:spChg chg="del">
          <ac:chgData name="Aurelien Domont" userId="6da7715ce44349b3" providerId="LiveId" clId="{8A0023AE-969A-4547-AF3A-B7A2EFB890D6}" dt="2022-10-11T02:14:07.030" v="207" actId="21"/>
          <ac:spMkLst>
            <pc:docMk/>
            <pc:sldMk cId="2789291692" sldId="1645"/>
            <ac:spMk id="29" creationId="{9CBAC759-E3E9-4444-A27B-9B92344EC269}"/>
          </ac:spMkLst>
        </pc:spChg>
      </pc:sldChg>
      <pc:sldChg chg="addSp modSp add">
        <pc:chgData name="Aurelien Domont" userId="6da7715ce44349b3" providerId="LiveId" clId="{8A0023AE-969A-4547-AF3A-B7A2EFB890D6}" dt="2022-10-11T02:15:20.631" v="216"/>
        <pc:sldMkLst>
          <pc:docMk/>
          <pc:sldMk cId="708629439" sldId="1646"/>
        </pc:sldMkLst>
        <pc:spChg chg="add mod">
          <ac:chgData name="Aurelien Domont" userId="6da7715ce44349b3" providerId="LiveId" clId="{8A0023AE-969A-4547-AF3A-B7A2EFB890D6}" dt="2022-10-11T02:15:20.631" v="216"/>
          <ac:spMkLst>
            <pc:docMk/>
            <pc:sldMk cId="708629439" sldId="1646"/>
            <ac:spMk id="2" creationId="{2B6DE3F0-89A4-A483-823D-58817261F02F}"/>
          </ac:spMkLst>
        </pc:spChg>
        <pc:spChg chg="mod">
          <ac:chgData name="Aurelien Domont" userId="6da7715ce44349b3" providerId="LiveId" clId="{8A0023AE-969A-4547-AF3A-B7A2EFB890D6}" dt="2022-10-11T01:55:19.018" v="19"/>
          <ac:spMkLst>
            <pc:docMk/>
            <pc:sldMk cId="708629439" sldId="1646"/>
            <ac:spMk id="3" creationId="{CE2529A3-BA97-486F-9E02-8DFAAA7D8D38}"/>
          </ac:spMkLst>
        </pc:spChg>
        <pc:spChg chg="mod">
          <ac:chgData name="Aurelien Domont" userId="6da7715ce44349b3" providerId="LiveId" clId="{8A0023AE-969A-4547-AF3A-B7A2EFB890D6}" dt="2022-10-11T01:55:19.018" v="19"/>
          <ac:spMkLst>
            <pc:docMk/>
            <pc:sldMk cId="708629439" sldId="1646"/>
            <ac:spMk id="16" creationId="{6C2BB713-9637-4B9B-938F-E9768876782A}"/>
          </ac:spMkLst>
        </pc:spChg>
      </pc:sldChg>
      <pc:sldChg chg="delSp modSp add mod">
        <pc:chgData name="Aurelien Domont" userId="6da7715ce44349b3" providerId="LiveId" clId="{8A0023AE-969A-4547-AF3A-B7A2EFB890D6}" dt="2022-10-11T02:26:25.869" v="221" actId="478"/>
        <pc:sldMkLst>
          <pc:docMk/>
          <pc:sldMk cId="4128626396" sldId="1647"/>
        </pc:sldMkLst>
        <pc:spChg chg="mod">
          <ac:chgData name="Aurelien Domont" userId="6da7715ce44349b3" providerId="LiveId" clId="{8A0023AE-969A-4547-AF3A-B7A2EFB890D6}" dt="2022-10-11T01:55:19.018" v="19"/>
          <ac:spMkLst>
            <pc:docMk/>
            <pc:sldMk cId="4128626396" sldId="1647"/>
            <ac:spMk id="3" creationId="{CE2529A3-BA97-486F-9E02-8DFAAA7D8D38}"/>
          </ac:spMkLst>
        </pc:spChg>
        <pc:spChg chg="mod">
          <ac:chgData name="Aurelien Domont" userId="6da7715ce44349b3" providerId="LiveId" clId="{8A0023AE-969A-4547-AF3A-B7A2EFB890D6}" dt="2022-10-11T01:55:19.018" v="19"/>
          <ac:spMkLst>
            <pc:docMk/>
            <pc:sldMk cId="4128626396" sldId="1647"/>
            <ac:spMk id="16" creationId="{6C2BB713-9637-4B9B-938F-E9768876782A}"/>
          </ac:spMkLst>
        </pc:spChg>
        <pc:spChg chg="del">
          <ac:chgData name="Aurelien Domont" userId="6da7715ce44349b3" providerId="LiveId" clId="{8A0023AE-969A-4547-AF3A-B7A2EFB890D6}" dt="2022-10-11T02:26:25.869" v="221" actId="478"/>
          <ac:spMkLst>
            <pc:docMk/>
            <pc:sldMk cId="4128626396" sldId="1647"/>
            <ac:spMk id="42" creationId="{779F7DA0-AEB6-4446-9027-3404B6F1BD64}"/>
          </ac:spMkLst>
        </pc:spChg>
        <pc:spChg chg="del">
          <ac:chgData name="Aurelien Domont" userId="6da7715ce44349b3" providerId="LiveId" clId="{8A0023AE-969A-4547-AF3A-B7A2EFB890D6}" dt="2022-10-11T02:26:25.869" v="221" actId="478"/>
          <ac:spMkLst>
            <pc:docMk/>
            <pc:sldMk cId="4128626396" sldId="1647"/>
            <ac:spMk id="43" creationId="{25390214-CD2D-4840-975F-066CC0BF750B}"/>
          </ac:spMkLst>
        </pc:spChg>
        <pc:spChg chg="del">
          <ac:chgData name="Aurelien Domont" userId="6da7715ce44349b3" providerId="LiveId" clId="{8A0023AE-969A-4547-AF3A-B7A2EFB890D6}" dt="2022-10-11T02:26:25.869" v="221" actId="478"/>
          <ac:spMkLst>
            <pc:docMk/>
            <pc:sldMk cId="4128626396" sldId="1647"/>
            <ac:spMk id="44" creationId="{0E043592-3CE7-4C3F-BC0C-A34049C07C01}"/>
          </ac:spMkLst>
        </pc:spChg>
        <pc:spChg chg="del">
          <ac:chgData name="Aurelien Domont" userId="6da7715ce44349b3" providerId="LiveId" clId="{8A0023AE-969A-4547-AF3A-B7A2EFB890D6}" dt="2022-10-11T02:26:25.869" v="221" actId="478"/>
          <ac:spMkLst>
            <pc:docMk/>
            <pc:sldMk cId="4128626396" sldId="1647"/>
            <ac:spMk id="45" creationId="{8E6E9514-4AB3-4B3A-BBF4-2758C2C5D73C}"/>
          </ac:spMkLst>
        </pc:spChg>
        <pc:spChg chg="del">
          <ac:chgData name="Aurelien Domont" userId="6da7715ce44349b3" providerId="LiveId" clId="{8A0023AE-969A-4547-AF3A-B7A2EFB890D6}" dt="2022-10-11T02:26:25.869" v="221" actId="478"/>
          <ac:spMkLst>
            <pc:docMk/>
            <pc:sldMk cId="4128626396" sldId="1647"/>
            <ac:spMk id="46" creationId="{F0965775-4105-4BBB-A5AB-FD70FE2711B7}"/>
          </ac:spMkLst>
        </pc:spChg>
      </pc:sldChg>
      <pc:sldChg chg="delSp modSp del mod">
        <pc:chgData name="Aurelien Domont" userId="6da7715ce44349b3" providerId="LiveId" clId="{8A0023AE-969A-4547-AF3A-B7A2EFB890D6}" dt="2022-10-11T03:06:50.503" v="1135" actId="47"/>
        <pc:sldMkLst>
          <pc:docMk/>
          <pc:sldMk cId="1133781032" sldId="1675"/>
        </pc:sldMkLst>
        <pc:spChg chg="mod">
          <ac:chgData name="Aurelien Domont" userId="6da7715ce44349b3" providerId="LiveId" clId="{8A0023AE-969A-4547-AF3A-B7A2EFB890D6}" dt="2022-10-11T01:55:19.018" v="19"/>
          <ac:spMkLst>
            <pc:docMk/>
            <pc:sldMk cId="1133781032" sldId="1675"/>
            <ac:spMk id="3" creationId="{E7A26292-23DB-44E5-949D-BAFE0A7919DF}"/>
          </ac:spMkLst>
        </pc:spChg>
        <pc:spChg chg="del">
          <ac:chgData name="Aurelien Domont" userId="6da7715ce44349b3" providerId="LiveId" clId="{8A0023AE-969A-4547-AF3A-B7A2EFB890D6}" dt="2022-10-11T03:02:21.566" v="785" actId="478"/>
          <ac:spMkLst>
            <pc:docMk/>
            <pc:sldMk cId="1133781032" sldId="1675"/>
            <ac:spMk id="9" creationId="{CA5868B7-1A1D-466C-90A6-74E0B6D5D1D2}"/>
          </ac:spMkLst>
        </pc:spChg>
        <pc:spChg chg="del">
          <ac:chgData name="Aurelien Domont" userId="6da7715ce44349b3" providerId="LiveId" clId="{8A0023AE-969A-4547-AF3A-B7A2EFB890D6}" dt="2022-10-11T03:02:21.566" v="785" actId="478"/>
          <ac:spMkLst>
            <pc:docMk/>
            <pc:sldMk cId="1133781032" sldId="1675"/>
            <ac:spMk id="10" creationId="{C947053D-CFF1-457D-AC67-BB8012A143B7}"/>
          </ac:spMkLst>
        </pc:spChg>
        <pc:spChg chg="del">
          <ac:chgData name="Aurelien Domont" userId="6da7715ce44349b3" providerId="LiveId" clId="{8A0023AE-969A-4547-AF3A-B7A2EFB890D6}" dt="2022-10-11T03:02:21.566" v="785" actId="478"/>
          <ac:spMkLst>
            <pc:docMk/>
            <pc:sldMk cId="1133781032" sldId="1675"/>
            <ac:spMk id="11" creationId="{2466FBC7-D427-495E-864E-72103955A3F6}"/>
          </ac:spMkLst>
        </pc:spChg>
        <pc:spChg chg="del">
          <ac:chgData name="Aurelien Domont" userId="6da7715ce44349b3" providerId="LiveId" clId="{8A0023AE-969A-4547-AF3A-B7A2EFB890D6}" dt="2022-10-11T03:02:21.566" v="785" actId="478"/>
          <ac:spMkLst>
            <pc:docMk/>
            <pc:sldMk cId="1133781032" sldId="1675"/>
            <ac:spMk id="15" creationId="{40D2B0D1-B3F4-4192-9B0E-5C540837D87D}"/>
          </ac:spMkLst>
        </pc:spChg>
        <pc:spChg chg="mod">
          <ac:chgData name="Aurelien Domont" userId="6da7715ce44349b3" providerId="LiveId" clId="{8A0023AE-969A-4547-AF3A-B7A2EFB890D6}" dt="2022-10-11T03:02:17.512" v="784" actId="20577"/>
          <ac:spMkLst>
            <pc:docMk/>
            <pc:sldMk cId="1133781032" sldId="1675"/>
            <ac:spMk id="16" creationId="{6C2BB713-9637-4B9B-938F-E9768876782A}"/>
          </ac:spMkLst>
        </pc:spChg>
        <pc:spChg chg="del">
          <ac:chgData name="Aurelien Domont" userId="6da7715ce44349b3" providerId="LiveId" clId="{8A0023AE-969A-4547-AF3A-B7A2EFB890D6}" dt="2022-10-11T03:02:21.566" v="785" actId="478"/>
          <ac:spMkLst>
            <pc:docMk/>
            <pc:sldMk cId="1133781032" sldId="1675"/>
            <ac:spMk id="17" creationId="{3B34A260-6F81-44BB-9B42-17A3CE7B0B6F}"/>
          </ac:spMkLst>
        </pc:spChg>
        <pc:spChg chg="del">
          <ac:chgData name="Aurelien Domont" userId="6da7715ce44349b3" providerId="LiveId" clId="{8A0023AE-969A-4547-AF3A-B7A2EFB890D6}" dt="2022-10-11T03:02:21.566" v="785" actId="478"/>
          <ac:spMkLst>
            <pc:docMk/>
            <pc:sldMk cId="1133781032" sldId="1675"/>
            <ac:spMk id="18" creationId="{E2AA0705-5D0C-4708-B5BD-AEC8AE5F313A}"/>
          </ac:spMkLst>
        </pc:spChg>
        <pc:spChg chg="del">
          <ac:chgData name="Aurelien Domont" userId="6da7715ce44349b3" providerId="LiveId" clId="{8A0023AE-969A-4547-AF3A-B7A2EFB890D6}" dt="2022-10-11T03:02:21.566" v="785" actId="478"/>
          <ac:spMkLst>
            <pc:docMk/>
            <pc:sldMk cId="1133781032" sldId="1675"/>
            <ac:spMk id="21" creationId="{8CE4305D-17C5-4E9D-BAE1-9A5038B91983}"/>
          </ac:spMkLst>
        </pc:spChg>
        <pc:spChg chg="del">
          <ac:chgData name="Aurelien Domont" userId="6da7715ce44349b3" providerId="LiveId" clId="{8A0023AE-969A-4547-AF3A-B7A2EFB890D6}" dt="2022-10-11T03:02:21.566" v="785" actId="478"/>
          <ac:spMkLst>
            <pc:docMk/>
            <pc:sldMk cId="1133781032" sldId="1675"/>
            <ac:spMk id="22" creationId="{17BA3B67-74FD-4190-A730-E7B6DC47055A}"/>
          </ac:spMkLst>
        </pc:spChg>
        <pc:spChg chg="del">
          <ac:chgData name="Aurelien Domont" userId="6da7715ce44349b3" providerId="LiveId" clId="{8A0023AE-969A-4547-AF3A-B7A2EFB890D6}" dt="2022-10-11T03:02:21.566" v="785" actId="478"/>
          <ac:spMkLst>
            <pc:docMk/>
            <pc:sldMk cId="1133781032" sldId="1675"/>
            <ac:spMk id="23" creationId="{1454E90E-0C44-4A16-8DB4-50C78FD950AE}"/>
          </ac:spMkLst>
        </pc:spChg>
        <pc:spChg chg="del">
          <ac:chgData name="Aurelien Domont" userId="6da7715ce44349b3" providerId="LiveId" clId="{8A0023AE-969A-4547-AF3A-B7A2EFB890D6}" dt="2022-10-11T03:02:21.566" v="785" actId="478"/>
          <ac:spMkLst>
            <pc:docMk/>
            <pc:sldMk cId="1133781032" sldId="1675"/>
            <ac:spMk id="24" creationId="{989F5A02-2F9B-461F-BA41-3DEDA23AD5AA}"/>
          </ac:spMkLst>
        </pc:spChg>
        <pc:spChg chg="del">
          <ac:chgData name="Aurelien Domont" userId="6da7715ce44349b3" providerId="LiveId" clId="{8A0023AE-969A-4547-AF3A-B7A2EFB890D6}" dt="2022-10-11T03:02:21.566" v="785" actId="478"/>
          <ac:spMkLst>
            <pc:docMk/>
            <pc:sldMk cId="1133781032" sldId="1675"/>
            <ac:spMk id="25" creationId="{F0BF9B82-81EF-4C2F-A764-75E56E743119}"/>
          </ac:spMkLst>
        </pc:spChg>
        <pc:spChg chg="del">
          <ac:chgData name="Aurelien Domont" userId="6da7715ce44349b3" providerId="LiveId" clId="{8A0023AE-969A-4547-AF3A-B7A2EFB890D6}" dt="2022-10-11T03:02:21.566" v="785" actId="478"/>
          <ac:spMkLst>
            <pc:docMk/>
            <pc:sldMk cId="1133781032" sldId="1675"/>
            <ac:spMk id="26" creationId="{5B57C9A6-69E3-4A62-817A-93F9CACC0107}"/>
          </ac:spMkLst>
        </pc:spChg>
        <pc:spChg chg="del">
          <ac:chgData name="Aurelien Domont" userId="6da7715ce44349b3" providerId="LiveId" clId="{8A0023AE-969A-4547-AF3A-B7A2EFB890D6}" dt="2022-10-11T03:02:21.566" v="785" actId="478"/>
          <ac:spMkLst>
            <pc:docMk/>
            <pc:sldMk cId="1133781032" sldId="1675"/>
            <ac:spMk id="27" creationId="{2107B03F-BE63-4D09-8DFA-2211271C6CEC}"/>
          </ac:spMkLst>
        </pc:spChg>
        <pc:spChg chg="del">
          <ac:chgData name="Aurelien Domont" userId="6da7715ce44349b3" providerId="LiveId" clId="{8A0023AE-969A-4547-AF3A-B7A2EFB890D6}" dt="2022-10-11T03:02:21.566" v="785" actId="478"/>
          <ac:spMkLst>
            <pc:docMk/>
            <pc:sldMk cId="1133781032" sldId="1675"/>
            <ac:spMk id="28" creationId="{476C59D2-3731-469D-918C-868CF689272D}"/>
          </ac:spMkLst>
        </pc:spChg>
        <pc:spChg chg="del">
          <ac:chgData name="Aurelien Domont" userId="6da7715ce44349b3" providerId="LiveId" clId="{8A0023AE-969A-4547-AF3A-B7A2EFB890D6}" dt="2022-10-11T03:02:21.566" v="785" actId="478"/>
          <ac:spMkLst>
            <pc:docMk/>
            <pc:sldMk cId="1133781032" sldId="1675"/>
            <ac:spMk id="34" creationId="{7E3D168E-DDAD-4DED-87F1-21F1B792DCE7}"/>
          </ac:spMkLst>
        </pc:spChg>
        <pc:spChg chg="del">
          <ac:chgData name="Aurelien Domont" userId="6da7715ce44349b3" providerId="LiveId" clId="{8A0023AE-969A-4547-AF3A-B7A2EFB890D6}" dt="2022-10-11T03:02:21.566" v="785" actId="478"/>
          <ac:spMkLst>
            <pc:docMk/>
            <pc:sldMk cId="1133781032" sldId="1675"/>
            <ac:spMk id="35" creationId="{678FA2E4-9715-4A13-905E-D3ECA0F0B56A}"/>
          </ac:spMkLst>
        </pc:spChg>
        <pc:spChg chg="del">
          <ac:chgData name="Aurelien Domont" userId="6da7715ce44349b3" providerId="LiveId" clId="{8A0023AE-969A-4547-AF3A-B7A2EFB890D6}" dt="2022-10-11T03:02:21.566" v="785" actId="478"/>
          <ac:spMkLst>
            <pc:docMk/>
            <pc:sldMk cId="1133781032" sldId="1675"/>
            <ac:spMk id="36" creationId="{CFB27CC5-5DC1-400E-8C5A-5641F34C7460}"/>
          </ac:spMkLst>
        </pc:spChg>
        <pc:spChg chg="del">
          <ac:chgData name="Aurelien Domont" userId="6da7715ce44349b3" providerId="LiveId" clId="{8A0023AE-969A-4547-AF3A-B7A2EFB890D6}" dt="2022-10-11T03:02:21.566" v="785" actId="478"/>
          <ac:spMkLst>
            <pc:docMk/>
            <pc:sldMk cId="1133781032" sldId="1675"/>
            <ac:spMk id="37" creationId="{F6D95707-FAE3-4C8E-B59A-BA2096934E6F}"/>
          </ac:spMkLst>
        </pc:spChg>
        <pc:spChg chg="del">
          <ac:chgData name="Aurelien Domont" userId="6da7715ce44349b3" providerId="LiveId" clId="{8A0023AE-969A-4547-AF3A-B7A2EFB890D6}" dt="2022-10-11T03:02:21.566" v="785" actId="478"/>
          <ac:spMkLst>
            <pc:docMk/>
            <pc:sldMk cId="1133781032" sldId="1675"/>
            <ac:spMk id="41" creationId="{B6BD9C4E-6710-40C6-93EE-75C70A5C8422}"/>
          </ac:spMkLst>
        </pc:spChg>
        <pc:spChg chg="del">
          <ac:chgData name="Aurelien Domont" userId="6da7715ce44349b3" providerId="LiveId" clId="{8A0023AE-969A-4547-AF3A-B7A2EFB890D6}" dt="2022-10-11T03:02:21.566" v="785" actId="478"/>
          <ac:spMkLst>
            <pc:docMk/>
            <pc:sldMk cId="1133781032" sldId="1675"/>
            <ac:spMk id="44" creationId="{DEF24663-C669-4C7A-B812-A9EF69C56AAF}"/>
          </ac:spMkLst>
        </pc:spChg>
        <pc:spChg chg="del">
          <ac:chgData name="Aurelien Domont" userId="6da7715ce44349b3" providerId="LiveId" clId="{8A0023AE-969A-4547-AF3A-B7A2EFB890D6}" dt="2022-10-11T03:02:21.566" v="785" actId="478"/>
          <ac:spMkLst>
            <pc:docMk/>
            <pc:sldMk cId="1133781032" sldId="1675"/>
            <ac:spMk id="45" creationId="{34812523-7B91-47BA-934A-A0B47145CFA7}"/>
          </ac:spMkLst>
        </pc:spChg>
        <pc:spChg chg="del">
          <ac:chgData name="Aurelien Domont" userId="6da7715ce44349b3" providerId="LiveId" clId="{8A0023AE-969A-4547-AF3A-B7A2EFB890D6}" dt="2022-10-11T03:02:21.566" v="785" actId="478"/>
          <ac:spMkLst>
            <pc:docMk/>
            <pc:sldMk cId="1133781032" sldId="1675"/>
            <ac:spMk id="48" creationId="{54EEB7DC-EAE9-49E7-96AD-E23DD812FA8E}"/>
          </ac:spMkLst>
        </pc:spChg>
        <pc:spChg chg="del">
          <ac:chgData name="Aurelien Domont" userId="6da7715ce44349b3" providerId="LiveId" clId="{8A0023AE-969A-4547-AF3A-B7A2EFB890D6}" dt="2022-10-11T03:02:21.566" v="785" actId="478"/>
          <ac:spMkLst>
            <pc:docMk/>
            <pc:sldMk cId="1133781032" sldId="1675"/>
            <ac:spMk id="49" creationId="{358C9978-8B15-4393-9A92-C0697B81CE58}"/>
          </ac:spMkLst>
        </pc:spChg>
        <pc:spChg chg="del">
          <ac:chgData name="Aurelien Domont" userId="6da7715ce44349b3" providerId="LiveId" clId="{8A0023AE-969A-4547-AF3A-B7A2EFB890D6}" dt="2022-10-11T03:02:21.566" v="785" actId="478"/>
          <ac:spMkLst>
            <pc:docMk/>
            <pc:sldMk cId="1133781032" sldId="1675"/>
            <ac:spMk id="52" creationId="{FCEEEC9C-139C-4CB8-9DB9-5C7A4B71CC6A}"/>
          </ac:spMkLst>
        </pc:spChg>
        <pc:spChg chg="del">
          <ac:chgData name="Aurelien Domont" userId="6da7715ce44349b3" providerId="LiveId" clId="{8A0023AE-969A-4547-AF3A-B7A2EFB890D6}" dt="2022-10-11T03:02:21.566" v="785" actId="478"/>
          <ac:spMkLst>
            <pc:docMk/>
            <pc:sldMk cId="1133781032" sldId="1675"/>
            <ac:spMk id="53" creationId="{1469ABA2-25C3-4B39-9F5E-D68AEF86B002}"/>
          </ac:spMkLst>
        </pc:spChg>
        <pc:spChg chg="del">
          <ac:chgData name="Aurelien Domont" userId="6da7715ce44349b3" providerId="LiveId" clId="{8A0023AE-969A-4547-AF3A-B7A2EFB890D6}" dt="2022-10-11T03:02:21.566" v="785" actId="478"/>
          <ac:spMkLst>
            <pc:docMk/>
            <pc:sldMk cId="1133781032" sldId="1675"/>
            <ac:spMk id="54" creationId="{4657394F-C44C-454C-85D6-0A7D03A92C30}"/>
          </ac:spMkLst>
        </pc:spChg>
        <pc:spChg chg="del">
          <ac:chgData name="Aurelien Domont" userId="6da7715ce44349b3" providerId="LiveId" clId="{8A0023AE-969A-4547-AF3A-B7A2EFB890D6}" dt="2022-10-11T03:02:21.566" v="785" actId="478"/>
          <ac:spMkLst>
            <pc:docMk/>
            <pc:sldMk cId="1133781032" sldId="1675"/>
            <ac:spMk id="55" creationId="{E2A50EAF-5B0D-479C-94D8-A7450BFFDD83}"/>
          </ac:spMkLst>
        </pc:spChg>
        <pc:cxnChg chg="del">
          <ac:chgData name="Aurelien Domont" userId="6da7715ce44349b3" providerId="LiveId" clId="{8A0023AE-969A-4547-AF3A-B7A2EFB890D6}" dt="2022-10-11T03:02:21.566" v="785" actId="478"/>
          <ac:cxnSpMkLst>
            <pc:docMk/>
            <pc:sldMk cId="1133781032" sldId="1675"/>
            <ac:cxnSpMk id="29" creationId="{7D02F165-6B2B-4938-B643-AC7262669758}"/>
          </ac:cxnSpMkLst>
        </pc:cxnChg>
        <pc:cxnChg chg="del">
          <ac:chgData name="Aurelien Domont" userId="6da7715ce44349b3" providerId="LiveId" clId="{8A0023AE-969A-4547-AF3A-B7A2EFB890D6}" dt="2022-10-11T03:02:21.566" v="785" actId="478"/>
          <ac:cxnSpMkLst>
            <pc:docMk/>
            <pc:sldMk cId="1133781032" sldId="1675"/>
            <ac:cxnSpMk id="30" creationId="{C8203EC2-873B-4470-BB27-98DE347483D2}"/>
          </ac:cxnSpMkLst>
        </pc:cxnChg>
        <pc:cxnChg chg="del">
          <ac:chgData name="Aurelien Domont" userId="6da7715ce44349b3" providerId="LiveId" clId="{8A0023AE-969A-4547-AF3A-B7A2EFB890D6}" dt="2022-10-11T03:02:21.566" v="785" actId="478"/>
          <ac:cxnSpMkLst>
            <pc:docMk/>
            <pc:sldMk cId="1133781032" sldId="1675"/>
            <ac:cxnSpMk id="31" creationId="{547254E3-9BA6-46E7-A0B6-5A3B116C51A2}"/>
          </ac:cxnSpMkLst>
        </pc:cxnChg>
        <pc:cxnChg chg="del">
          <ac:chgData name="Aurelien Domont" userId="6da7715ce44349b3" providerId="LiveId" clId="{8A0023AE-969A-4547-AF3A-B7A2EFB890D6}" dt="2022-10-11T03:02:21.566" v="785" actId="478"/>
          <ac:cxnSpMkLst>
            <pc:docMk/>
            <pc:sldMk cId="1133781032" sldId="1675"/>
            <ac:cxnSpMk id="32" creationId="{8D645805-410E-4626-AFFD-E23E387D3443}"/>
          </ac:cxnSpMkLst>
        </pc:cxnChg>
        <pc:cxnChg chg="del">
          <ac:chgData name="Aurelien Domont" userId="6da7715ce44349b3" providerId="LiveId" clId="{8A0023AE-969A-4547-AF3A-B7A2EFB890D6}" dt="2022-10-11T03:02:21.566" v="785" actId="478"/>
          <ac:cxnSpMkLst>
            <pc:docMk/>
            <pc:sldMk cId="1133781032" sldId="1675"/>
            <ac:cxnSpMk id="33" creationId="{2C293A34-569A-4CBA-BEC3-B185529D5312}"/>
          </ac:cxnSpMkLst>
        </pc:cxnChg>
        <pc:cxnChg chg="del">
          <ac:chgData name="Aurelien Domont" userId="6da7715ce44349b3" providerId="LiveId" clId="{8A0023AE-969A-4547-AF3A-B7A2EFB890D6}" dt="2022-10-11T03:02:21.566" v="785" actId="478"/>
          <ac:cxnSpMkLst>
            <pc:docMk/>
            <pc:sldMk cId="1133781032" sldId="1675"/>
            <ac:cxnSpMk id="38" creationId="{0F945453-E1B7-43F8-8115-69133A34C6B3}"/>
          </ac:cxnSpMkLst>
        </pc:cxnChg>
        <pc:cxnChg chg="del">
          <ac:chgData name="Aurelien Domont" userId="6da7715ce44349b3" providerId="LiveId" clId="{8A0023AE-969A-4547-AF3A-B7A2EFB890D6}" dt="2022-10-11T03:02:21.566" v="785" actId="478"/>
          <ac:cxnSpMkLst>
            <pc:docMk/>
            <pc:sldMk cId="1133781032" sldId="1675"/>
            <ac:cxnSpMk id="39" creationId="{4152D8B1-A732-4FE5-958A-4147FD29EC84}"/>
          </ac:cxnSpMkLst>
        </pc:cxnChg>
        <pc:cxnChg chg="del">
          <ac:chgData name="Aurelien Domont" userId="6da7715ce44349b3" providerId="LiveId" clId="{8A0023AE-969A-4547-AF3A-B7A2EFB890D6}" dt="2022-10-11T03:02:21.566" v="785" actId="478"/>
          <ac:cxnSpMkLst>
            <pc:docMk/>
            <pc:sldMk cId="1133781032" sldId="1675"/>
            <ac:cxnSpMk id="40" creationId="{85BE3325-CD18-4564-90AE-87145C74D5F2}"/>
          </ac:cxnSpMkLst>
        </pc:cxnChg>
        <pc:cxnChg chg="del">
          <ac:chgData name="Aurelien Domont" userId="6da7715ce44349b3" providerId="LiveId" clId="{8A0023AE-969A-4547-AF3A-B7A2EFB890D6}" dt="2022-10-11T03:02:21.566" v="785" actId="478"/>
          <ac:cxnSpMkLst>
            <pc:docMk/>
            <pc:sldMk cId="1133781032" sldId="1675"/>
            <ac:cxnSpMk id="42" creationId="{7FDDFC14-D6F8-4CB3-A293-C56F502F6786}"/>
          </ac:cxnSpMkLst>
        </pc:cxnChg>
        <pc:cxnChg chg="del">
          <ac:chgData name="Aurelien Domont" userId="6da7715ce44349b3" providerId="LiveId" clId="{8A0023AE-969A-4547-AF3A-B7A2EFB890D6}" dt="2022-10-11T03:02:21.566" v="785" actId="478"/>
          <ac:cxnSpMkLst>
            <pc:docMk/>
            <pc:sldMk cId="1133781032" sldId="1675"/>
            <ac:cxnSpMk id="43" creationId="{B6FA2799-6A64-4279-A958-1B85D24980ED}"/>
          </ac:cxnSpMkLst>
        </pc:cxnChg>
        <pc:cxnChg chg="del">
          <ac:chgData name="Aurelien Domont" userId="6da7715ce44349b3" providerId="LiveId" clId="{8A0023AE-969A-4547-AF3A-B7A2EFB890D6}" dt="2022-10-11T03:02:21.566" v="785" actId="478"/>
          <ac:cxnSpMkLst>
            <pc:docMk/>
            <pc:sldMk cId="1133781032" sldId="1675"/>
            <ac:cxnSpMk id="46" creationId="{9B129743-6AF0-4C7E-BF4D-F56CB3975CB3}"/>
          </ac:cxnSpMkLst>
        </pc:cxnChg>
        <pc:cxnChg chg="del">
          <ac:chgData name="Aurelien Domont" userId="6da7715ce44349b3" providerId="LiveId" clId="{8A0023AE-969A-4547-AF3A-B7A2EFB890D6}" dt="2022-10-11T03:02:21.566" v="785" actId="478"/>
          <ac:cxnSpMkLst>
            <pc:docMk/>
            <pc:sldMk cId="1133781032" sldId="1675"/>
            <ac:cxnSpMk id="47" creationId="{7E5CE00D-D50A-4A25-9650-D3A9AB010D1F}"/>
          </ac:cxnSpMkLst>
        </pc:cxnChg>
        <pc:cxnChg chg="del">
          <ac:chgData name="Aurelien Domont" userId="6da7715ce44349b3" providerId="LiveId" clId="{8A0023AE-969A-4547-AF3A-B7A2EFB890D6}" dt="2022-10-11T03:02:21.566" v="785" actId="478"/>
          <ac:cxnSpMkLst>
            <pc:docMk/>
            <pc:sldMk cId="1133781032" sldId="1675"/>
            <ac:cxnSpMk id="50" creationId="{B997B214-C8A1-49B5-B62D-66E89DA908FA}"/>
          </ac:cxnSpMkLst>
        </pc:cxnChg>
        <pc:cxnChg chg="del">
          <ac:chgData name="Aurelien Domont" userId="6da7715ce44349b3" providerId="LiveId" clId="{8A0023AE-969A-4547-AF3A-B7A2EFB890D6}" dt="2022-10-11T03:02:21.566" v="785" actId="478"/>
          <ac:cxnSpMkLst>
            <pc:docMk/>
            <pc:sldMk cId="1133781032" sldId="1675"/>
            <ac:cxnSpMk id="51" creationId="{28D49F23-D45B-4DE9-8EDA-4389D4DF8BB7}"/>
          </ac:cxnSpMkLst>
        </pc:cxnChg>
      </pc:sldChg>
      <pc:sldChg chg="add">
        <pc:chgData name="Aurelien Domont" userId="6da7715ce44349b3" providerId="LiveId" clId="{8A0023AE-969A-4547-AF3A-B7A2EFB890D6}" dt="2022-10-11T03:14:25.382" v="1266"/>
        <pc:sldMkLst>
          <pc:docMk/>
          <pc:sldMk cId="1289725493" sldId="2149"/>
        </pc:sldMkLst>
      </pc:sldChg>
      <pc:sldChg chg="modSp add mod">
        <pc:chgData name="Aurelien Domont" userId="6da7715ce44349b3" providerId="LiveId" clId="{8A0023AE-969A-4547-AF3A-B7A2EFB890D6}" dt="2022-10-11T02:04:38.561" v="48" actId="20577"/>
        <pc:sldMkLst>
          <pc:docMk/>
          <pc:sldMk cId="2342396241" sldId="2168"/>
        </pc:sldMkLst>
        <pc:spChg chg="mod">
          <ac:chgData name="Aurelien Domont" userId="6da7715ce44349b3" providerId="LiveId" clId="{8A0023AE-969A-4547-AF3A-B7A2EFB890D6}" dt="2022-10-11T02:04:38.561" v="48" actId="20577"/>
          <ac:spMkLst>
            <pc:docMk/>
            <pc:sldMk cId="2342396241" sldId="2168"/>
            <ac:spMk id="16" creationId="{6C2BB713-9637-4B9B-938F-E9768876782A}"/>
          </ac:spMkLst>
        </pc:spChg>
      </pc:sldChg>
      <pc:sldChg chg="modSp add mod">
        <pc:chgData name="Aurelien Domont" userId="6da7715ce44349b3" providerId="LiveId" clId="{8A0023AE-969A-4547-AF3A-B7A2EFB890D6}" dt="2022-10-17T02:51:20.737" v="1404" actId="20577"/>
        <pc:sldMkLst>
          <pc:docMk/>
          <pc:sldMk cId="2159222150" sldId="2169"/>
        </pc:sldMkLst>
        <pc:spChg chg="mod">
          <ac:chgData name="Aurelien Domont" userId="6da7715ce44349b3" providerId="LiveId" clId="{8A0023AE-969A-4547-AF3A-B7A2EFB890D6}" dt="2022-10-11T02:04:45.164" v="49"/>
          <ac:spMkLst>
            <pc:docMk/>
            <pc:sldMk cId="2159222150" sldId="2169"/>
            <ac:spMk id="16" creationId="{6C2BB713-9637-4B9B-938F-E9768876782A}"/>
          </ac:spMkLst>
        </pc:spChg>
        <pc:spChg chg="mod">
          <ac:chgData name="Aurelien Domont" userId="6da7715ce44349b3" providerId="LiveId" clId="{8A0023AE-969A-4547-AF3A-B7A2EFB890D6}" dt="2022-10-17T02:51:20.737" v="1404" actId="20577"/>
          <ac:spMkLst>
            <pc:docMk/>
            <pc:sldMk cId="2159222150" sldId="2169"/>
            <ac:spMk id="24" creationId="{0F9E4179-95B2-4E43-A459-DEC57999546A}"/>
          </ac:spMkLst>
        </pc:spChg>
      </pc:sldChg>
      <pc:sldChg chg="modSp del">
        <pc:chgData name="Aurelien Domont" userId="6da7715ce44349b3" providerId="LiveId" clId="{8A0023AE-969A-4547-AF3A-B7A2EFB890D6}" dt="2022-10-11T03:14:56.758" v="1268" actId="47"/>
        <pc:sldMkLst>
          <pc:docMk/>
          <pc:sldMk cId="1141822668" sldId="2176"/>
        </pc:sldMkLst>
        <pc:spChg chg="mod">
          <ac:chgData name="Aurelien Domont" userId="6da7715ce44349b3" providerId="LiveId" clId="{8A0023AE-969A-4547-AF3A-B7A2EFB890D6}" dt="2022-10-11T01:55:19.018" v="19"/>
          <ac:spMkLst>
            <pc:docMk/>
            <pc:sldMk cId="1141822668" sldId="2176"/>
            <ac:spMk id="3" creationId="{E7A26292-23DB-44E5-949D-BAFE0A7919DF}"/>
          </ac:spMkLst>
        </pc:spChg>
        <pc:spChg chg="mod">
          <ac:chgData name="Aurelien Domont" userId="6da7715ce44349b3" providerId="LiveId" clId="{8A0023AE-969A-4547-AF3A-B7A2EFB890D6}" dt="2022-10-11T01:55:19.018" v="19"/>
          <ac:spMkLst>
            <pc:docMk/>
            <pc:sldMk cId="1141822668" sldId="2176"/>
            <ac:spMk id="16" creationId="{6C2BB713-9637-4B9B-938F-E9768876782A}"/>
          </ac:spMkLst>
        </pc:spChg>
      </pc:sldChg>
      <pc:sldChg chg="modSp del">
        <pc:chgData name="Aurelien Domont" userId="6da7715ce44349b3" providerId="LiveId" clId="{8A0023AE-969A-4547-AF3A-B7A2EFB890D6}" dt="2022-10-11T02:03:37.707" v="36" actId="47"/>
        <pc:sldMkLst>
          <pc:docMk/>
          <pc:sldMk cId="1110778063" sldId="2183"/>
        </pc:sldMkLst>
        <pc:spChg chg="mod">
          <ac:chgData name="Aurelien Domont" userId="6da7715ce44349b3" providerId="LiveId" clId="{8A0023AE-969A-4547-AF3A-B7A2EFB890D6}" dt="2022-10-11T01:55:19.018" v="19"/>
          <ac:spMkLst>
            <pc:docMk/>
            <pc:sldMk cId="1110778063" sldId="2183"/>
            <ac:spMk id="3" creationId="{CE2529A3-BA97-486F-9E02-8DFAAA7D8D38}"/>
          </ac:spMkLst>
        </pc:spChg>
        <pc:spChg chg="mod">
          <ac:chgData name="Aurelien Domont" userId="6da7715ce44349b3" providerId="LiveId" clId="{8A0023AE-969A-4547-AF3A-B7A2EFB890D6}" dt="2021-07-09T03:37:44.562" v="1"/>
          <ac:spMkLst>
            <pc:docMk/>
            <pc:sldMk cId="1110778063" sldId="2183"/>
            <ac:spMk id="26" creationId="{C340F2EE-BA16-482F-BFE4-F0465F9C2085}"/>
          </ac:spMkLst>
        </pc:spChg>
      </pc:sldChg>
      <pc:sldChg chg="del">
        <pc:chgData name="Aurelien Domont" userId="6da7715ce44349b3" providerId="LiveId" clId="{8A0023AE-969A-4547-AF3A-B7A2EFB890D6}" dt="2021-07-16T05:08:14.759" v="18" actId="47"/>
        <pc:sldMkLst>
          <pc:docMk/>
          <pc:sldMk cId="4292960502" sldId="2184"/>
        </pc:sldMkLst>
      </pc:sldChg>
      <pc:sldChg chg="modSp del">
        <pc:chgData name="Aurelien Domont" userId="6da7715ce44349b3" providerId="LiveId" clId="{8A0023AE-969A-4547-AF3A-B7A2EFB890D6}" dt="2022-10-11T02:05:22.619" v="74" actId="47"/>
        <pc:sldMkLst>
          <pc:docMk/>
          <pc:sldMk cId="1883424115" sldId="2187"/>
        </pc:sldMkLst>
        <pc:spChg chg="mod">
          <ac:chgData name="Aurelien Domont" userId="6da7715ce44349b3" providerId="LiveId" clId="{8A0023AE-969A-4547-AF3A-B7A2EFB890D6}" dt="2022-10-11T01:55:19.018" v="19"/>
          <ac:spMkLst>
            <pc:docMk/>
            <pc:sldMk cId="1883424115" sldId="2187"/>
            <ac:spMk id="3" creationId="{CE2529A3-BA97-486F-9E02-8DFAAA7D8D38}"/>
          </ac:spMkLst>
        </pc:spChg>
        <pc:spChg chg="mod">
          <ac:chgData name="Aurelien Domont" userId="6da7715ce44349b3" providerId="LiveId" clId="{8A0023AE-969A-4547-AF3A-B7A2EFB890D6}" dt="2021-07-09T03:37:44.562" v="1"/>
          <ac:spMkLst>
            <pc:docMk/>
            <pc:sldMk cId="1883424115" sldId="2187"/>
            <ac:spMk id="26" creationId="{C340F2EE-BA16-482F-BFE4-F0465F9C2085}"/>
          </ac:spMkLst>
        </pc:spChg>
      </pc:sldChg>
      <pc:sldChg chg="modSp del">
        <pc:chgData name="Aurelien Domont" userId="6da7715ce44349b3" providerId="LiveId" clId="{8A0023AE-969A-4547-AF3A-B7A2EFB890D6}" dt="2022-10-11T02:45:40.479" v="620" actId="47"/>
        <pc:sldMkLst>
          <pc:docMk/>
          <pc:sldMk cId="4044835620" sldId="2189"/>
        </pc:sldMkLst>
        <pc:spChg chg="mod">
          <ac:chgData name="Aurelien Domont" userId="6da7715ce44349b3" providerId="LiveId" clId="{8A0023AE-969A-4547-AF3A-B7A2EFB890D6}" dt="2022-10-11T01:55:19.018" v="19"/>
          <ac:spMkLst>
            <pc:docMk/>
            <pc:sldMk cId="4044835620" sldId="2189"/>
            <ac:spMk id="3" creationId="{CE2529A3-BA97-486F-9E02-8DFAAA7D8D38}"/>
          </ac:spMkLst>
        </pc:spChg>
        <pc:spChg chg="mod">
          <ac:chgData name="Aurelien Domont" userId="6da7715ce44349b3" providerId="LiveId" clId="{8A0023AE-969A-4547-AF3A-B7A2EFB890D6}" dt="2021-07-09T03:37:44.562" v="1"/>
          <ac:spMkLst>
            <pc:docMk/>
            <pc:sldMk cId="4044835620" sldId="2189"/>
            <ac:spMk id="26" creationId="{C340F2EE-BA16-482F-BFE4-F0465F9C2085}"/>
          </ac:spMkLst>
        </pc:spChg>
      </pc:sldChg>
      <pc:sldChg chg="modSp del">
        <pc:chgData name="Aurelien Domont" userId="6da7715ce44349b3" providerId="LiveId" clId="{8A0023AE-969A-4547-AF3A-B7A2EFB890D6}" dt="2022-10-11T02:47:38.880" v="662" actId="47"/>
        <pc:sldMkLst>
          <pc:docMk/>
          <pc:sldMk cId="4192609216" sldId="2190"/>
        </pc:sldMkLst>
        <pc:spChg chg="mod">
          <ac:chgData name="Aurelien Domont" userId="6da7715ce44349b3" providerId="LiveId" clId="{8A0023AE-969A-4547-AF3A-B7A2EFB890D6}" dt="2022-10-11T01:55:19.018" v="19"/>
          <ac:spMkLst>
            <pc:docMk/>
            <pc:sldMk cId="4192609216" sldId="2190"/>
            <ac:spMk id="3" creationId="{CE2529A3-BA97-486F-9E02-8DFAAA7D8D38}"/>
          </ac:spMkLst>
        </pc:spChg>
        <pc:spChg chg="mod">
          <ac:chgData name="Aurelien Domont" userId="6da7715ce44349b3" providerId="LiveId" clId="{8A0023AE-969A-4547-AF3A-B7A2EFB890D6}" dt="2021-07-09T03:37:44.562" v="1"/>
          <ac:spMkLst>
            <pc:docMk/>
            <pc:sldMk cId="4192609216" sldId="2190"/>
            <ac:spMk id="26" creationId="{C340F2EE-BA16-482F-BFE4-F0465F9C2085}"/>
          </ac:spMkLst>
        </pc:spChg>
      </pc:sldChg>
      <pc:sldChg chg="delSp modSp mod ord">
        <pc:chgData name="Aurelien Domont" userId="6da7715ce44349b3" providerId="LiveId" clId="{8A0023AE-969A-4547-AF3A-B7A2EFB890D6}" dt="2022-10-11T02:49:26.847" v="676"/>
        <pc:sldMkLst>
          <pc:docMk/>
          <pc:sldMk cId="252561860" sldId="2191"/>
        </pc:sldMkLst>
        <pc:spChg chg="mod">
          <ac:chgData name="Aurelien Domont" userId="6da7715ce44349b3" providerId="LiveId" clId="{8A0023AE-969A-4547-AF3A-B7A2EFB890D6}" dt="2022-10-11T01:55:19.018" v="19"/>
          <ac:spMkLst>
            <pc:docMk/>
            <pc:sldMk cId="252561860" sldId="2191"/>
            <ac:spMk id="3" creationId="{E7A26292-23DB-44E5-949D-BAFE0A7919DF}"/>
          </ac:spMkLst>
        </pc:spChg>
        <pc:spChg chg="del">
          <ac:chgData name="Aurelien Domont" userId="6da7715ce44349b3" providerId="LiveId" clId="{8A0023AE-969A-4547-AF3A-B7A2EFB890D6}" dt="2022-10-11T02:48:08.844" v="665" actId="478"/>
          <ac:spMkLst>
            <pc:docMk/>
            <pc:sldMk cId="252561860" sldId="2191"/>
            <ac:spMk id="14" creationId="{B5E93639-B5F1-4815-A5B0-724619FCE8D8}"/>
          </ac:spMkLst>
        </pc:spChg>
        <pc:spChg chg="mod">
          <ac:chgData name="Aurelien Domont" userId="6da7715ce44349b3" providerId="LiveId" clId="{8A0023AE-969A-4547-AF3A-B7A2EFB890D6}" dt="2022-10-11T01:55:19.018" v="19"/>
          <ac:spMkLst>
            <pc:docMk/>
            <pc:sldMk cId="252561860" sldId="2191"/>
            <ac:spMk id="16" creationId="{6C2BB713-9637-4B9B-938F-E9768876782A}"/>
          </ac:spMkLst>
        </pc:spChg>
      </pc:sldChg>
      <pc:sldChg chg="modSp ord">
        <pc:chgData name="Aurelien Domont" userId="6da7715ce44349b3" providerId="LiveId" clId="{8A0023AE-969A-4547-AF3A-B7A2EFB890D6}" dt="2022-10-11T02:49:26.847" v="676"/>
        <pc:sldMkLst>
          <pc:docMk/>
          <pc:sldMk cId="1291775963" sldId="2192"/>
        </pc:sldMkLst>
        <pc:spChg chg="mod">
          <ac:chgData name="Aurelien Domont" userId="6da7715ce44349b3" providerId="LiveId" clId="{8A0023AE-969A-4547-AF3A-B7A2EFB890D6}" dt="2022-10-11T01:55:19.018" v="19"/>
          <ac:spMkLst>
            <pc:docMk/>
            <pc:sldMk cId="1291775963" sldId="2192"/>
            <ac:spMk id="3" creationId="{E7A26292-23DB-44E5-949D-BAFE0A7919DF}"/>
          </ac:spMkLst>
        </pc:spChg>
        <pc:spChg chg="mod">
          <ac:chgData name="Aurelien Domont" userId="6da7715ce44349b3" providerId="LiveId" clId="{8A0023AE-969A-4547-AF3A-B7A2EFB890D6}" dt="2022-10-11T01:55:19.018" v="19"/>
          <ac:spMkLst>
            <pc:docMk/>
            <pc:sldMk cId="1291775963" sldId="2192"/>
            <ac:spMk id="16" creationId="{6C2BB713-9637-4B9B-938F-E9768876782A}"/>
          </ac:spMkLst>
        </pc:spChg>
      </pc:sldChg>
      <pc:sldChg chg="modSp del">
        <pc:chgData name="Aurelien Domont" userId="6da7715ce44349b3" providerId="LiveId" clId="{8A0023AE-969A-4547-AF3A-B7A2EFB890D6}" dt="2022-10-11T02:49:39.353" v="692" actId="47"/>
        <pc:sldMkLst>
          <pc:docMk/>
          <pc:sldMk cId="1499175507" sldId="2193"/>
        </pc:sldMkLst>
        <pc:spChg chg="mod">
          <ac:chgData name="Aurelien Domont" userId="6da7715ce44349b3" providerId="LiveId" clId="{8A0023AE-969A-4547-AF3A-B7A2EFB890D6}" dt="2022-10-11T01:55:19.018" v="19"/>
          <ac:spMkLst>
            <pc:docMk/>
            <pc:sldMk cId="1499175507" sldId="2193"/>
            <ac:spMk id="3" creationId="{CE2529A3-BA97-486F-9E02-8DFAAA7D8D38}"/>
          </ac:spMkLst>
        </pc:spChg>
        <pc:spChg chg="mod">
          <ac:chgData name="Aurelien Domont" userId="6da7715ce44349b3" providerId="LiveId" clId="{8A0023AE-969A-4547-AF3A-B7A2EFB890D6}" dt="2021-07-09T03:37:44.562" v="1"/>
          <ac:spMkLst>
            <pc:docMk/>
            <pc:sldMk cId="1499175507" sldId="2193"/>
            <ac:spMk id="26" creationId="{C340F2EE-BA16-482F-BFE4-F0465F9C2085}"/>
          </ac:spMkLst>
        </pc:spChg>
      </pc:sldChg>
      <pc:sldChg chg="modSp ord">
        <pc:chgData name="Aurelien Domont" userId="6da7715ce44349b3" providerId="LiveId" clId="{8A0023AE-969A-4547-AF3A-B7A2EFB890D6}" dt="2022-10-11T02:51:19.776" v="704"/>
        <pc:sldMkLst>
          <pc:docMk/>
          <pc:sldMk cId="1177967045" sldId="2195"/>
        </pc:sldMkLst>
        <pc:spChg chg="mod">
          <ac:chgData name="Aurelien Domont" userId="6da7715ce44349b3" providerId="LiveId" clId="{8A0023AE-969A-4547-AF3A-B7A2EFB890D6}" dt="2022-10-11T01:55:19.018" v="19"/>
          <ac:spMkLst>
            <pc:docMk/>
            <pc:sldMk cId="1177967045" sldId="2195"/>
            <ac:spMk id="3" creationId="{E7A26292-23DB-44E5-949D-BAFE0A7919DF}"/>
          </ac:spMkLst>
        </pc:spChg>
        <pc:spChg chg="mod">
          <ac:chgData name="Aurelien Domont" userId="6da7715ce44349b3" providerId="LiveId" clId="{8A0023AE-969A-4547-AF3A-B7A2EFB890D6}" dt="2022-10-11T01:55:19.018" v="19"/>
          <ac:spMkLst>
            <pc:docMk/>
            <pc:sldMk cId="1177967045" sldId="2195"/>
            <ac:spMk id="16" creationId="{6C2BB713-9637-4B9B-938F-E9768876782A}"/>
          </ac:spMkLst>
        </pc:spChg>
      </pc:sldChg>
      <pc:sldChg chg="modSp ord">
        <pc:chgData name="Aurelien Domont" userId="6da7715ce44349b3" providerId="LiveId" clId="{8A0023AE-969A-4547-AF3A-B7A2EFB890D6}" dt="2022-10-11T02:51:19.776" v="704"/>
        <pc:sldMkLst>
          <pc:docMk/>
          <pc:sldMk cId="793542605" sldId="2196"/>
        </pc:sldMkLst>
        <pc:spChg chg="mod">
          <ac:chgData name="Aurelien Domont" userId="6da7715ce44349b3" providerId="LiveId" clId="{8A0023AE-969A-4547-AF3A-B7A2EFB890D6}" dt="2022-10-11T01:55:19.018" v="19"/>
          <ac:spMkLst>
            <pc:docMk/>
            <pc:sldMk cId="793542605" sldId="2196"/>
            <ac:spMk id="3" creationId="{E7A26292-23DB-44E5-949D-BAFE0A7919DF}"/>
          </ac:spMkLst>
        </pc:spChg>
        <pc:spChg chg="mod">
          <ac:chgData name="Aurelien Domont" userId="6da7715ce44349b3" providerId="LiveId" clId="{8A0023AE-969A-4547-AF3A-B7A2EFB890D6}" dt="2022-10-11T01:55:19.018" v="19"/>
          <ac:spMkLst>
            <pc:docMk/>
            <pc:sldMk cId="793542605" sldId="2196"/>
            <ac:spMk id="16" creationId="{6C2BB713-9637-4B9B-938F-E9768876782A}"/>
          </ac:spMkLst>
        </pc:spChg>
      </pc:sldChg>
      <pc:sldChg chg="addSp delSp modSp mod ord">
        <pc:chgData name="Aurelien Domont" userId="6da7715ce44349b3" providerId="LiveId" clId="{8A0023AE-969A-4547-AF3A-B7A2EFB890D6}" dt="2022-10-11T02:51:19.776" v="704"/>
        <pc:sldMkLst>
          <pc:docMk/>
          <pc:sldMk cId="1206354650" sldId="2197"/>
        </pc:sldMkLst>
        <pc:spChg chg="add mod">
          <ac:chgData name="Aurelien Domont" userId="6da7715ce44349b3" providerId="LiveId" clId="{8A0023AE-969A-4547-AF3A-B7A2EFB890D6}" dt="2022-10-11T02:50:34.124" v="693"/>
          <ac:spMkLst>
            <pc:docMk/>
            <pc:sldMk cId="1206354650" sldId="2197"/>
            <ac:spMk id="2" creationId="{F6391C1F-C05E-C772-1D5A-C6E3515DCDDB}"/>
          </ac:spMkLst>
        </pc:spChg>
        <pc:spChg chg="mod">
          <ac:chgData name="Aurelien Domont" userId="6da7715ce44349b3" providerId="LiveId" clId="{8A0023AE-969A-4547-AF3A-B7A2EFB890D6}" dt="2022-10-11T01:55:19.018" v="19"/>
          <ac:spMkLst>
            <pc:docMk/>
            <pc:sldMk cId="1206354650" sldId="2197"/>
            <ac:spMk id="3" creationId="{E7A26292-23DB-44E5-949D-BAFE0A7919DF}"/>
          </ac:spMkLst>
        </pc:spChg>
        <pc:spChg chg="del">
          <ac:chgData name="Aurelien Domont" userId="6da7715ce44349b3" providerId="LiveId" clId="{8A0023AE-969A-4547-AF3A-B7A2EFB890D6}" dt="2022-10-11T02:50:35.922" v="694" actId="478"/>
          <ac:spMkLst>
            <pc:docMk/>
            <pc:sldMk cId="1206354650" sldId="2197"/>
            <ac:spMk id="11" creationId="{7B8F4865-B849-43D8-99C8-367DB26F1DF5}"/>
          </ac:spMkLst>
        </pc:spChg>
        <pc:spChg chg="mod">
          <ac:chgData name="Aurelien Domont" userId="6da7715ce44349b3" providerId="LiveId" clId="{8A0023AE-969A-4547-AF3A-B7A2EFB890D6}" dt="2022-10-11T01:55:19.018" v="19"/>
          <ac:spMkLst>
            <pc:docMk/>
            <pc:sldMk cId="1206354650" sldId="2197"/>
            <ac:spMk id="16" creationId="{6C2BB713-9637-4B9B-938F-E9768876782A}"/>
          </ac:spMkLst>
        </pc:spChg>
      </pc:sldChg>
      <pc:sldChg chg="addSp delSp modSp mod ord">
        <pc:chgData name="Aurelien Domont" userId="6da7715ce44349b3" providerId="LiveId" clId="{8A0023AE-969A-4547-AF3A-B7A2EFB890D6}" dt="2022-10-17T23:19:25.400" v="1622" actId="20577"/>
        <pc:sldMkLst>
          <pc:docMk/>
          <pc:sldMk cId="2990142530" sldId="2198"/>
        </pc:sldMkLst>
        <pc:spChg chg="add mod">
          <ac:chgData name="Aurelien Domont" userId="6da7715ce44349b3" providerId="LiveId" clId="{8A0023AE-969A-4547-AF3A-B7A2EFB890D6}" dt="2022-10-11T02:48:48.246" v="672" actId="6549"/>
          <ac:spMkLst>
            <pc:docMk/>
            <pc:sldMk cId="2990142530" sldId="2198"/>
            <ac:spMk id="2" creationId="{8EB558B0-6B8D-DC1F-1514-FE9F92D74018}"/>
          </ac:spMkLst>
        </pc:spChg>
        <pc:spChg chg="mod">
          <ac:chgData name="Aurelien Domont" userId="6da7715ce44349b3" providerId="LiveId" clId="{8A0023AE-969A-4547-AF3A-B7A2EFB890D6}" dt="2022-10-11T01:55:19.018" v="19"/>
          <ac:spMkLst>
            <pc:docMk/>
            <pc:sldMk cId="2990142530" sldId="2198"/>
            <ac:spMk id="3" creationId="{E7A26292-23DB-44E5-949D-BAFE0A7919DF}"/>
          </ac:spMkLst>
        </pc:spChg>
        <pc:spChg chg="mod">
          <ac:chgData name="Aurelien Domont" userId="6da7715ce44349b3" providerId="LiveId" clId="{8A0023AE-969A-4547-AF3A-B7A2EFB890D6}" dt="2022-10-11T01:55:19.018" v="19"/>
          <ac:spMkLst>
            <pc:docMk/>
            <pc:sldMk cId="2990142530" sldId="2198"/>
            <ac:spMk id="16" creationId="{6C2BB713-9637-4B9B-938F-E9768876782A}"/>
          </ac:spMkLst>
        </pc:spChg>
        <pc:spChg chg="mod">
          <ac:chgData name="Aurelien Domont" userId="6da7715ce44349b3" providerId="LiveId" clId="{8A0023AE-969A-4547-AF3A-B7A2EFB890D6}" dt="2022-10-17T23:19:25.400" v="1622" actId="20577"/>
          <ac:spMkLst>
            <pc:docMk/>
            <pc:sldMk cId="2990142530" sldId="2198"/>
            <ac:spMk id="17" creationId="{04528831-2C34-48CB-B79E-30696FB22302}"/>
          </ac:spMkLst>
        </pc:spChg>
        <pc:spChg chg="mod">
          <ac:chgData name="Aurelien Domont" userId="6da7715ce44349b3" providerId="LiveId" clId="{8A0023AE-969A-4547-AF3A-B7A2EFB890D6}" dt="2022-10-11T02:49:09.664" v="674" actId="6549"/>
          <ac:spMkLst>
            <pc:docMk/>
            <pc:sldMk cId="2990142530" sldId="2198"/>
            <ac:spMk id="20" creationId="{D6436089-34A2-4772-B070-2765BB60AFD0}"/>
          </ac:spMkLst>
        </pc:spChg>
        <pc:spChg chg="del">
          <ac:chgData name="Aurelien Domont" userId="6da7715ce44349b3" providerId="LiveId" clId="{8A0023AE-969A-4547-AF3A-B7A2EFB890D6}" dt="2022-10-11T02:48:45.777" v="671" actId="478"/>
          <ac:spMkLst>
            <pc:docMk/>
            <pc:sldMk cId="2990142530" sldId="2198"/>
            <ac:spMk id="32" creationId="{51603748-1B41-41AE-910D-89255B5F91EC}"/>
          </ac:spMkLst>
        </pc:spChg>
      </pc:sldChg>
      <pc:sldChg chg="modSp del">
        <pc:chgData name="Aurelien Domont" userId="6da7715ce44349b3" providerId="LiveId" clId="{8A0023AE-969A-4547-AF3A-B7A2EFB890D6}" dt="2022-10-11T02:51:33.339" v="723" actId="47"/>
        <pc:sldMkLst>
          <pc:docMk/>
          <pc:sldMk cId="3820082592" sldId="2199"/>
        </pc:sldMkLst>
        <pc:spChg chg="mod">
          <ac:chgData name="Aurelien Domont" userId="6da7715ce44349b3" providerId="LiveId" clId="{8A0023AE-969A-4547-AF3A-B7A2EFB890D6}" dt="2022-10-11T01:55:19.018" v="19"/>
          <ac:spMkLst>
            <pc:docMk/>
            <pc:sldMk cId="3820082592" sldId="2199"/>
            <ac:spMk id="3" creationId="{CE2529A3-BA97-486F-9E02-8DFAAA7D8D38}"/>
          </ac:spMkLst>
        </pc:spChg>
        <pc:spChg chg="mod">
          <ac:chgData name="Aurelien Domont" userId="6da7715ce44349b3" providerId="LiveId" clId="{8A0023AE-969A-4547-AF3A-B7A2EFB890D6}" dt="2021-07-09T03:37:44.562" v="1"/>
          <ac:spMkLst>
            <pc:docMk/>
            <pc:sldMk cId="3820082592" sldId="2199"/>
            <ac:spMk id="26" creationId="{C340F2EE-BA16-482F-BFE4-F0465F9C2085}"/>
          </ac:spMkLst>
        </pc:spChg>
      </pc:sldChg>
      <pc:sldChg chg="addSp delSp modSp mod ord">
        <pc:chgData name="Aurelien Domont" userId="6da7715ce44349b3" providerId="LiveId" clId="{8A0023AE-969A-4547-AF3A-B7A2EFB890D6}" dt="2022-10-11T02:52:26.488" v="730"/>
        <pc:sldMkLst>
          <pc:docMk/>
          <pc:sldMk cId="513527490" sldId="2200"/>
        </pc:sldMkLst>
        <pc:spChg chg="add del mod">
          <ac:chgData name="Aurelien Domont" userId="6da7715ce44349b3" providerId="LiveId" clId="{8A0023AE-969A-4547-AF3A-B7A2EFB890D6}" dt="2022-10-11T02:51:52.808" v="726" actId="478"/>
          <ac:spMkLst>
            <pc:docMk/>
            <pc:sldMk cId="513527490" sldId="2200"/>
            <ac:spMk id="2" creationId="{8BC56065-CD3E-741C-1631-769FE1237EAE}"/>
          </ac:spMkLst>
        </pc:spChg>
        <pc:spChg chg="mod">
          <ac:chgData name="Aurelien Domont" userId="6da7715ce44349b3" providerId="LiveId" clId="{8A0023AE-969A-4547-AF3A-B7A2EFB890D6}" dt="2022-10-11T01:55:19.018" v="19"/>
          <ac:spMkLst>
            <pc:docMk/>
            <pc:sldMk cId="513527490" sldId="2200"/>
            <ac:spMk id="3" creationId="{E7A26292-23DB-44E5-949D-BAFE0A7919DF}"/>
          </ac:spMkLst>
        </pc:spChg>
        <pc:spChg chg="del">
          <ac:chgData name="Aurelien Domont" userId="6da7715ce44349b3" providerId="LiveId" clId="{8A0023AE-969A-4547-AF3A-B7A2EFB890D6}" dt="2022-10-11T02:51:52.808" v="726" actId="478"/>
          <ac:spMkLst>
            <pc:docMk/>
            <pc:sldMk cId="513527490" sldId="2200"/>
            <ac:spMk id="11" creationId="{B4AD5336-F5AE-4CDC-AC56-A011B8FAD577}"/>
          </ac:spMkLst>
        </pc:spChg>
        <pc:spChg chg="mod">
          <ac:chgData name="Aurelien Domont" userId="6da7715ce44349b3" providerId="LiveId" clId="{8A0023AE-969A-4547-AF3A-B7A2EFB890D6}" dt="2022-10-11T01:55:19.018" v="19"/>
          <ac:spMkLst>
            <pc:docMk/>
            <pc:sldMk cId="513527490" sldId="2200"/>
            <ac:spMk id="16" creationId="{6C2BB713-9637-4B9B-938F-E9768876782A}"/>
          </ac:spMkLst>
        </pc:spChg>
      </pc:sldChg>
      <pc:sldChg chg="modSp del">
        <pc:chgData name="Aurelien Domont" userId="6da7715ce44349b3" providerId="LiveId" clId="{8A0023AE-969A-4547-AF3A-B7A2EFB890D6}" dt="2022-10-11T02:04:20.115" v="38" actId="47"/>
        <pc:sldMkLst>
          <pc:docMk/>
          <pc:sldMk cId="2661957683" sldId="2201"/>
        </pc:sldMkLst>
        <pc:spChg chg="mod">
          <ac:chgData name="Aurelien Domont" userId="6da7715ce44349b3" providerId="LiveId" clId="{8A0023AE-969A-4547-AF3A-B7A2EFB890D6}" dt="2022-10-11T01:55:19.018" v="19"/>
          <ac:spMkLst>
            <pc:docMk/>
            <pc:sldMk cId="2661957683" sldId="2201"/>
            <ac:spMk id="3" creationId="{E7A26292-23DB-44E5-949D-BAFE0A7919DF}"/>
          </ac:spMkLst>
        </pc:spChg>
        <pc:spChg chg="mod">
          <ac:chgData name="Aurelien Domont" userId="6da7715ce44349b3" providerId="LiveId" clId="{8A0023AE-969A-4547-AF3A-B7A2EFB890D6}" dt="2022-10-11T01:55:19.018" v="19"/>
          <ac:spMkLst>
            <pc:docMk/>
            <pc:sldMk cId="2661957683" sldId="2201"/>
            <ac:spMk id="16" creationId="{6C2BB713-9637-4B9B-938F-E9768876782A}"/>
          </ac:spMkLst>
        </pc:spChg>
      </pc:sldChg>
      <pc:sldChg chg="modSp del">
        <pc:chgData name="Aurelien Domont" userId="6da7715ce44349b3" providerId="LiveId" clId="{8A0023AE-969A-4547-AF3A-B7A2EFB890D6}" dt="2022-10-11T02:04:20.115" v="38" actId="47"/>
        <pc:sldMkLst>
          <pc:docMk/>
          <pc:sldMk cId="567542991" sldId="2202"/>
        </pc:sldMkLst>
        <pc:spChg chg="mod">
          <ac:chgData name="Aurelien Domont" userId="6da7715ce44349b3" providerId="LiveId" clId="{8A0023AE-969A-4547-AF3A-B7A2EFB890D6}" dt="2022-10-11T01:55:19.018" v="19"/>
          <ac:spMkLst>
            <pc:docMk/>
            <pc:sldMk cId="567542991" sldId="2202"/>
            <ac:spMk id="3" creationId="{E7A26292-23DB-44E5-949D-BAFE0A7919DF}"/>
          </ac:spMkLst>
        </pc:spChg>
        <pc:spChg chg="mod">
          <ac:chgData name="Aurelien Domont" userId="6da7715ce44349b3" providerId="LiveId" clId="{8A0023AE-969A-4547-AF3A-B7A2EFB890D6}" dt="2022-10-11T01:55:19.018" v="19"/>
          <ac:spMkLst>
            <pc:docMk/>
            <pc:sldMk cId="567542991" sldId="2202"/>
            <ac:spMk id="16" creationId="{6C2BB713-9637-4B9B-938F-E9768876782A}"/>
          </ac:spMkLst>
        </pc:spChg>
      </pc:sldChg>
      <pc:sldChg chg="modSp ord">
        <pc:chgData name="Aurelien Domont" userId="6da7715ce44349b3" providerId="LiveId" clId="{8A0023AE-969A-4547-AF3A-B7A2EFB890D6}" dt="2022-10-11T02:52:26.488" v="730"/>
        <pc:sldMkLst>
          <pc:docMk/>
          <pc:sldMk cId="26917896" sldId="2203"/>
        </pc:sldMkLst>
        <pc:spChg chg="mod">
          <ac:chgData name="Aurelien Domont" userId="6da7715ce44349b3" providerId="LiveId" clId="{8A0023AE-969A-4547-AF3A-B7A2EFB890D6}" dt="2022-10-11T01:55:19.018" v="19"/>
          <ac:spMkLst>
            <pc:docMk/>
            <pc:sldMk cId="26917896" sldId="2203"/>
            <ac:spMk id="3" creationId="{E7A26292-23DB-44E5-949D-BAFE0A7919DF}"/>
          </ac:spMkLst>
        </pc:spChg>
        <pc:spChg chg="mod">
          <ac:chgData name="Aurelien Domont" userId="6da7715ce44349b3" providerId="LiveId" clId="{8A0023AE-969A-4547-AF3A-B7A2EFB890D6}" dt="2022-10-11T01:55:19.018" v="19"/>
          <ac:spMkLst>
            <pc:docMk/>
            <pc:sldMk cId="26917896" sldId="2203"/>
            <ac:spMk id="16" creationId="{6C2BB713-9637-4B9B-938F-E9768876782A}"/>
          </ac:spMkLst>
        </pc:spChg>
      </pc:sldChg>
      <pc:sldChg chg="addSp delSp modSp mod ord">
        <pc:chgData name="Aurelien Domont" userId="6da7715ce44349b3" providerId="LiveId" clId="{8A0023AE-969A-4547-AF3A-B7A2EFB890D6}" dt="2022-10-11T02:52:26.488" v="730"/>
        <pc:sldMkLst>
          <pc:docMk/>
          <pc:sldMk cId="3260603161" sldId="2204"/>
        </pc:sldMkLst>
        <pc:spChg chg="add mod">
          <ac:chgData name="Aurelien Domont" userId="6da7715ce44349b3" providerId="LiveId" clId="{8A0023AE-969A-4547-AF3A-B7A2EFB890D6}" dt="2022-10-11T02:52:16.494" v="727"/>
          <ac:spMkLst>
            <pc:docMk/>
            <pc:sldMk cId="3260603161" sldId="2204"/>
            <ac:spMk id="2" creationId="{72964C36-D1FF-FA27-C83C-1C6A19C1C7F6}"/>
          </ac:spMkLst>
        </pc:spChg>
        <pc:spChg chg="mod">
          <ac:chgData name="Aurelien Domont" userId="6da7715ce44349b3" providerId="LiveId" clId="{8A0023AE-969A-4547-AF3A-B7A2EFB890D6}" dt="2022-10-11T01:55:19.018" v="19"/>
          <ac:spMkLst>
            <pc:docMk/>
            <pc:sldMk cId="3260603161" sldId="2204"/>
            <ac:spMk id="3" creationId="{E7A26292-23DB-44E5-949D-BAFE0A7919DF}"/>
          </ac:spMkLst>
        </pc:spChg>
        <pc:spChg chg="mod">
          <ac:chgData name="Aurelien Domont" userId="6da7715ce44349b3" providerId="LiveId" clId="{8A0023AE-969A-4547-AF3A-B7A2EFB890D6}" dt="2022-10-11T01:55:19.018" v="19"/>
          <ac:spMkLst>
            <pc:docMk/>
            <pc:sldMk cId="3260603161" sldId="2204"/>
            <ac:spMk id="16" creationId="{6C2BB713-9637-4B9B-938F-E9768876782A}"/>
          </ac:spMkLst>
        </pc:spChg>
        <pc:spChg chg="del">
          <ac:chgData name="Aurelien Domont" userId="6da7715ce44349b3" providerId="LiveId" clId="{8A0023AE-969A-4547-AF3A-B7A2EFB890D6}" dt="2022-10-11T02:52:19.167" v="728" actId="478"/>
          <ac:spMkLst>
            <pc:docMk/>
            <pc:sldMk cId="3260603161" sldId="2204"/>
            <ac:spMk id="32" creationId="{A0CC9A0C-D866-4E23-8A91-7EBE416F27B1}"/>
          </ac:spMkLst>
        </pc:spChg>
      </pc:sldChg>
      <pc:sldChg chg="modSp del">
        <pc:chgData name="Aurelien Domont" userId="6da7715ce44349b3" providerId="LiveId" clId="{8A0023AE-969A-4547-AF3A-B7A2EFB890D6}" dt="2022-10-11T02:54:30.524" v="752" actId="47"/>
        <pc:sldMkLst>
          <pc:docMk/>
          <pc:sldMk cId="2836562888" sldId="2205"/>
        </pc:sldMkLst>
        <pc:spChg chg="mod">
          <ac:chgData name="Aurelien Domont" userId="6da7715ce44349b3" providerId="LiveId" clId="{8A0023AE-969A-4547-AF3A-B7A2EFB890D6}" dt="2022-10-11T01:55:19.018" v="19"/>
          <ac:spMkLst>
            <pc:docMk/>
            <pc:sldMk cId="2836562888" sldId="2205"/>
            <ac:spMk id="3" creationId="{CE2529A3-BA97-486F-9E02-8DFAAA7D8D38}"/>
          </ac:spMkLst>
        </pc:spChg>
        <pc:spChg chg="mod">
          <ac:chgData name="Aurelien Domont" userId="6da7715ce44349b3" providerId="LiveId" clId="{8A0023AE-969A-4547-AF3A-B7A2EFB890D6}" dt="2021-07-09T03:37:44.562" v="1"/>
          <ac:spMkLst>
            <pc:docMk/>
            <pc:sldMk cId="2836562888" sldId="2205"/>
            <ac:spMk id="26" creationId="{C340F2EE-BA16-482F-BFE4-F0465F9C2085}"/>
          </ac:spMkLst>
        </pc:spChg>
      </pc:sldChg>
      <pc:sldChg chg="delSp modSp mod ord">
        <pc:chgData name="Aurelien Domont" userId="6da7715ce44349b3" providerId="LiveId" clId="{8A0023AE-969A-4547-AF3A-B7A2EFB890D6}" dt="2022-10-11T03:07:44.916" v="1147" actId="478"/>
        <pc:sldMkLst>
          <pc:docMk/>
          <pc:sldMk cId="3280891638" sldId="2206"/>
        </pc:sldMkLst>
        <pc:spChg chg="mod">
          <ac:chgData name="Aurelien Domont" userId="6da7715ce44349b3" providerId="LiveId" clId="{8A0023AE-969A-4547-AF3A-B7A2EFB890D6}" dt="2022-10-11T01:55:19.018" v="19"/>
          <ac:spMkLst>
            <pc:docMk/>
            <pc:sldMk cId="3280891638" sldId="2206"/>
            <ac:spMk id="2" creationId="{A67BEC9B-911F-478E-9C56-72957F18467D}"/>
          </ac:spMkLst>
        </pc:spChg>
        <pc:spChg chg="mod">
          <ac:chgData name="Aurelien Domont" userId="6da7715ce44349b3" providerId="LiveId" clId="{8A0023AE-969A-4547-AF3A-B7A2EFB890D6}" dt="2022-10-11T01:55:19.018" v="19"/>
          <ac:spMkLst>
            <pc:docMk/>
            <pc:sldMk cId="3280891638" sldId="2206"/>
            <ac:spMk id="14" creationId="{C9800183-F524-4412-AB39-A6E1A21FF0B3}"/>
          </ac:spMkLst>
        </pc:spChg>
        <pc:spChg chg="del">
          <ac:chgData name="Aurelien Domont" userId="6da7715ce44349b3" providerId="LiveId" clId="{8A0023AE-969A-4547-AF3A-B7A2EFB890D6}" dt="2022-10-11T03:07:44.916" v="1147" actId="478"/>
          <ac:spMkLst>
            <pc:docMk/>
            <pc:sldMk cId="3280891638" sldId="2206"/>
            <ac:spMk id="38" creationId="{9BE856EA-A840-4319-947D-2CE5B1774FE9}"/>
          </ac:spMkLst>
        </pc:spChg>
      </pc:sldChg>
      <pc:sldChg chg="addSp delSp modSp mod ord">
        <pc:chgData name="Aurelien Domont" userId="6da7715ce44349b3" providerId="LiveId" clId="{8A0023AE-969A-4547-AF3A-B7A2EFB890D6}" dt="2022-10-11T02:51:19.776" v="704"/>
        <pc:sldMkLst>
          <pc:docMk/>
          <pc:sldMk cId="216224630" sldId="2207"/>
        </pc:sldMkLst>
        <pc:spChg chg="add mod">
          <ac:chgData name="Aurelien Domont" userId="6da7715ce44349b3" providerId="LiveId" clId="{8A0023AE-969A-4547-AF3A-B7A2EFB890D6}" dt="2022-10-11T02:50:47.021" v="695"/>
          <ac:spMkLst>
            <pc:docMk/>
            <pc:sldMk cId="216224630" sldId="2207"/>
            <ac:spMk id="2" creationId="{059B053D-9EF2-6A1A-2521-0EE09F05686E}"/>
          </ac:spMkLst>
        </pc:spChg>
        <pc:spChg chg="mod">
          <ac:chgData name="Aurelien Domont" userId="6da7715ce44349b3" providerId="LiveId" clId="{8A0023AE-969A-4547-AF3A-B7A2EFB890D6}" dt="2022-10-11T01:55:19.018" v="19"/>
          <ac:spMkLst>
            <pc:docMk/>
            <pc:sldMk cId="216224630" sldId="2207"/>
            <ac:spMk id="3" creationId="{E7A26292-23DB-44E5-949D-BAFE0A7919DF}"/>
          </ac:spMkLst>
        </pc:spChg>
        <pc:spChg chg="mod">
          <ac:chgData name="Aurelien Domont" userId="6da7715ce44349b3" providerId="LiveId" clId="{8A0023AE-969A-4547-AF3A-B7A2EFB890D6}" dt="2022-10-11T01:55:19.018" v="19"/>
          <ac:spMkLst>
            <pc:docMk/>
            <pc:sldMk cId="216224630" sldId="2207"/>
            <ac:spMk id="16" creationId="{6C2BB713-9637-4B9B-938F-E9768876782A}"/>
          </ac:spMkLst>
        </pc:spChg>
        <pc:spChg chg="mod">
          <ac:chgData name="Aurelien Domont" userId="6da7715ce44349b3" providerId="LiveId" clId="{8A0023AE-969A-4547-AF3A-B7A2EFB890D6}" dt="2022-10-11T02:51:00.806" v="702" actId="20577"/>
          <ac:spMkLst>
            <pc:docMk/>
            <pc:sldMk cId="216224630" sldId="2207"/>
            <ac:spMk id="27" creationId="{3C7BF620-7666-4029-874D-B6D841967A7E}"/>
          </ac:spMkLst>
        </pc:spChg>
        <pc:spChg chg="del">
          <ac:chgData name="Aurelien Domont" userId="6da7715ce44349b3" providerId="LiveId" clId="{8A0023AE-969A-4547-AF3A-B7A2EFB890D6}" dt="2022-10-11T02:50:49.025" v="696" actId="478"/>
          <ac:spMkLst>
            <pc:docMk/>
            <pc:sldMk cId="216224630" sldId="2207"/>
            <ac:spMk id="32" creationId="{2985E824-28DA-4C72-AD81-03DE83F3B9AF}"/>
          </ac:spMkLst>
        </pc:spChg>
      </pc:sldChg>
      <pc:sldChg chg="addSp delSp modSp mod">
        <pc:chgData name="Aurelien Domont" userId="6da7715ce44349b3" providerId="LiveId" clId="{8A0023AE-969A-4547-AF3A-B7A2EFB890D6}" dt="2022-10-11T03:08:05.742" v="1148"/>
        <pc:sldMkLst>
          <pc:docMk/>
          <pc:sldMk cId="3667406482" sldId="2208"/>
        </pc:sldMkLst>
        <pc:spChg chg="mod">
          <ac:chgData name="Aurelien Domont" userId="6da7715ce44349b3" providerId="LiveId" clId="{8A0023AE-969A-4547-AF3A-B7A2EFB890D6}" dt="2022-10-11T01:55:19.018" v="19"/>
          <ac:spMkLst>
            <pc:docMk/>
            <pc:sldMk cId="3667406482" sldId="2208"/>
            <ac:spMk id="2" creationId="{A67BEC9B-911F-478E-9C56-72957F18467D}"/>
          </ac:spMkLst>
        </pc:spChg>
        <pc:spChg chg="add mod">
          <ac:chgData name="Aurelien Domont" userId="6da7715ce44349b3" providerId="LiveId" clId="{8A0023AE-969A-4547-AF3A-B7A2EFB890D6}" dt="2022-10-11T03:08:05.742" v="1148"/>
          <ac:spMkLst>
            <pc:docMk/>
            <pc:sldMk cId="3667406482" sldId="2208"/>
            <ac:spMk id="3" creationId="{558656C0-60FB-BDD8-2722-226BF50250B4}"/>
          </ac:spMkLst>
        </pc:spChg>
        <pc:spChg chg="mod">
          <ac:chgData name="Aurelien Domont" userId="6da7715ce44349b3" providerId="LiveId" clId="{8A0023AE-969A-4547-AF3A-B7A2EFB890D6}" dt="2022-10-11T01:55:19.018" v="19"/>
          <ac:spMkLst>
            <pc:docMk/>
            <pc:sldMk cId="3667406482" sldId="2208"/>
            <ac:spMk id="14" creationId="{C9800183-F524-4412-AB39-A6E1A21FF0B3}"/>
          </ac:spMkLst>
        </pc:spChg>
        <pc:spChg chg="del">
          <ac:chgData name="Aurelien Domont" userId="6da7715ce44349b3" providerId="LiveId" clId="{8A0023AE-969A-4547-AF3A-B7A2EFB890D6}" dt="2022-10-11T03:07:20.661" v="1144" actId="478"/>
          <ac:spMkLst>
            <pc:docMk/>
            <pc:sldMk cId="3667406482" sldId="2208"/>
            <ac:spMk id="20" creationId="{D88841C8-0622-4D05-91CE-25B9A2AD78F2}"/>
          </ac:spMkLst>
        </pc:spChg>
      </pc:sldChg>
      <pc:sldChg chg="modSp del">
        <pc:chgData name="Aurelien Domont" userId="6da7715ce44349b3" providerId="LiveId" clId="{8A0023AE-969A-4547-AF3A-B7A2EFB890D6}" dt="2022-10-11T03:14:56.758" v="1268" actId="47"/>
        <pc:sldMkLst>
          <pc:docMk/>
          <pc:sldMk cId="2580746334" sldId="2209"/>
        </pc:sldMkLst>
        <pc:spChg chg="mod">
          <ac:chgData name="Aurelien Domont" userId="6da7715ce44349b3" providerId="LiveId" clId="{8A0023AE-969A-4547-AF3A-B7A2EFB890D6}" dt="2022-10-11T01:55:19.018" v="19"/>
          <ac:spMkLst>
            <pc:docMk/>
            <pc:sldMk cId="2580746334" sldId="2209"/>
            <ac:spMk id="3" creationId="{E7A26292-23DB-44E5-949D-BAFE0A7919DF}"/>
          </ac:spMkLst>
        </pc:spChg>
        <pc:spChg chg="mod">
          <ac:chgData name="Aurelien Domont" userId="6da7715ce44349b3" providerId="LiveId" clId="{8A0023AE-969A-4547-AF3A-B7A2EFB890D6}" dt="2022-10-11T01:55:19.018" v="19"/>
          <ac:spMkLst>
            <pc:docMk/>
            <pc:sldMk cId="2580746334" sldId="2209"/>
            <ac:spMk id="16" creationId="{6C2BB713-9637-4B9B-938F-E9768876782A}"/>
          </ac:spMkLst>
        </pc:spChg>
      </pc:sldChg>
      <pc:sldChg chg="modSp">
        <pc:chgData name="Aurelien Domont" userId="6da7715ce44349b3" providerId="LiveId" clId="{8A0023AE-969A-4547-AF3A-B7A2EFB890D6}" dt="2022-10-11T01:55:19.018" v="19"/>
        <pc:sldMkLst>
          <pc:docMk/>
          <pc:sldMk cId="2516775586" sldId="2210"/>
        </pc:sldMkLst>
        <pc:spChg chg="mod">
          <ac:chgData name="Aurelien Domont" userId="6da7715ce44349b3" providerId="LiveId" clId="{8A0023AE-969A-4547-AF3A-B7A2EFB890D6}" dt="2022-10-11T01:55:19.018" v="19"/>
          <ac:spMkLst>
            <pc:docMk/>
            <pc:sldMk cId="2516775586" sldId="2210"/>
            <ac:spMk id="2" creationId="{A67BEC9B-911F-478E-9C56-72957F18467D}"/>
          </ac:spMkLst>
        </pc:spChg>
        <pc:spChg chg="mod">
          <ac:chgData name="Aurelien Domont" userId="6da7715ce44349b3" providerId="LiveId" clId="{8A0023AE-969A-4547-AF3A-B7A2EFB890D6}" dt="2022-10-11T01:55:19.018" v="19"/>
          <ac:spMkLst>
            <pc:docMk/>
            <pc:sldMk cId="2516775586" sldId="2210"/>
            <ac:spMk id="14" creationId="{C9800183-F524-4412-AB39-A6E1A21FF0B3}"/>
          </ac:spMkLst>
        </pc:spChg>
      </pc:sldChg>
      <pc:sldChg chg="modSp mod">
        <pc:chgData name="Aurelien Domont" userId="6da7715ce44349b3" providerId="LiveId" clId="{8A0023AE-969A-4547-AF3A-B7A2EFB890D6}" dt="2022-10-11T02:35:53.010" v="401" actId="20577"/>
        <pc:sldMkLst>
          <pc:docMk/>
          <pc:sldMk cId="708349765" sldId="2211"/>
        </pc:sldMkLst>
        <pc:spChg chg="mod">
          <ac:chgData name="Aurelien Domont" userId="6da7715ce44349b3" providerId="LiveId" clId="{8A0023AE-969A-4547-AF3A-B7A2EFB890D6}" dt="2022-10-11T01:55:19.018" v="19"/>
          <ac:spMkLst>
            <pc:docMk/>
            <pc:sldMk cId="708349765" sldId="2211"/>
            <ac:spMk id="2" creationId="{96F69DFC-5251-4AD4-A696-D2EAA298B52B}"/>
          </ac:spMkLst>
        </pc:spChg>
        <pc:spChg chg="mod">
          <ac:chgData name="Aurelien Domont" userId="6da7715ce44349b3" providerId="LiveId" clId="{8A0023AE-969A-4547-AF3A-B7A2EFB890D6}" dt="2022-10-11T02:32:27.211" v="348" actId="20577"/>
          <ac:spMkLst>
            <pc:docMk/>
            <pc:sldMk cId="708349765" sldId="2211"/>
            <ac:spMk id="12" creationId="{1D8BE6D5-37CE-49C8-818A-9BED70D3F374}"/>
          </ac:spMkLst>
        </pc:spChg>
        <pc:spChg chg="mod">
          <ac:chgData name="Aurelien Domont" userId="6da7715ce44349b3" providerId="LiveId" clId="{8A0023AE-969A-4547-AF3A-B7A2EFB890D6}" dt="2022-10-11T02:35:53.010" v="401" actId="20577"/>
          <ac:spMkLst>
            <pc:docMk/>
            <pc:sldMk cId="708349765" sldId="2211"/>
            <ac:spMk id="16" creationId="{6C2BB713-9637-4B9B-938F-E9768876782A}"/>
          </ac:spMkLst>
        </pc:spChg>
      </pc:sldChg>
      <pc:sldChg chg="modSp del">
        <pc:chgData name="Aurelien Domont" userId="6da7715ce44349b3" providerId="LiveId" clId="{8A0023AE-969A-4547-AF3A-B7A2EFB890D6}" dt="2022-10-11T02:52:41.601" v="745" actId="47"/>
        <pc:sldMkLst>
          <pc:docMk/>
          <pc:sldMk cId="4078257987" sldId="2212"/>
        </pc:sldMkLst>
        <pc:spChg chg="mod">
          <ac:chgData name="Aurelien Domont" userId="6da7715ce44349b3" providerId="LiveId" clId="{8A0023AE-969A-4547-AF3A-B7A2EFB890D6}" dt="2022-10-11T01:55:19.018" v="19"/>
          <ac:spMkLst>
            <pc:docMk/>
            <pc:sldMk cId="4078257987" sldId="2212"/>
            <ac:spMk id="3" creationId="{CE2529A3-BA97-486F-9E02-8DFAAA7D8D38}"/>
          </ac:spMkLst>
        </pc:spChg>
        <pc:spChg chg="mod">
          <ac:chgData name="Aurelien Domont" userId="6da7715ce44349b3" providerId="LiveId" clId="{8A0023AE-969A-4547-AF3A-B7A2EFB890D6}" dt="2021-07-09T03:37:44.562" v="1"/>
          <ac:spMkLst>
            <pc:docMk/>
            <pc:sldMk cId="4078257987" sldId="2212"/>
            <ac:spMk id="26" creationId="{C340F2EE-BA16-482F-BFE4-F0465F9C2085}"/>
          </ac:spMkLst>
        </pc:spChg>
      </pc:sldChg>
      <pc:sldChg chg="delSp modSp mod ord">
        <pc:chgData name="Aurelien Domont" userId="6da7715ce44349b3" providerId="LiveId" clId="{8A0023AE-969A-4547-AF3A-B7A2EFB890D6}" dt="2022-10-11T02:54:25.574" v="750"/>
        <pc:sldMkLst>
          <pc:docMk/>
          <pc:sldMk cId="987926823" sldId="2213"/>
        </pc:sldMkLst>
        <pc:spChg chg="mod">
          <ac:chgData name="Aurelien Domont" userId="6da7715ce44349b3" providerId="LiveId" clId="{8A0023AE-969A-4547-AF3A-B7A2EFB890D6}" dt="2022-10-11T01:55:19.018" v="19"/>
          <ac:spMkLst>
            <pc:docMk/>
            <pc:sldMk cId="987926823" sldId="2213"/>
            <ac:spMk id="3" creationId="{E7A26292-23DB-44E5-949D-BAFE0A7919DF}"/>
          </ac:spMkLst>
        </pc:spChg>
        <pc:spChg chg="del">
          <ac:chgData name="Aurelien Domont" userId="6da7715ce44349b3" providerId="LiveId" clId="{8A0023AE-969A-4547-AF3A-B7A2EFB890D6}" dt="2022-10-11T02:53:00.139" v="747" actId="478"/>
          <ac:spMkLst>
            <pc:docMk/>
            <pc:sldMk cId="987926823" sldId="2213"/>
            <ac:spMk id="6" creationId="{FC764768-86EE-4D8D-82BE-8E38AA5235CF}"/>
          </ac:spMkLst>
        </pc:spChg>
        <pc:spChg chg="mod">
          <ac:chgData name="Aurelien Domont" userId="6da7715ce44349b3" providerId="LiveId" clId="{8A0023AE-969A-4547-AF3A-B7A2EFB890D6}" dt="2022-10-11T01:55:19.018" v="19"/>
          <ac:spMkLst>
            <pc:docMk/>
            <pc:sldMk cId="987926823" sldId="2213"/>
            <ac:spMk id="16" creationId="{6C2BB713-9637-4B9B-938F-E9768876782A}"/>
          </ac:spMkLst>
        </pc:spChg>
      </pc:sldChg>
      <pc:sldChg chg="modSp ord">
        <pc:chgData name="Aurelien Domont" userId="6da7715ce44349b3" providerId="LiveId" clId="{8A0023AE-969A-4547-AF3A-B7A2EFB890D6}" dt="2022-10-11T02:54:25.574" v="750"/>
        <pc:sldMkLst>
          <pc:docMk/>
          <pc:sldMk cId="2829018850" sldId="2214"/>
        </pc:sldMkLst>
        <pc:spChg chg="mod">
          <ac:chgData name="Aurelien Domont" userId="6da7715ce44349b3" providerId="LiveId" clId="{8A0023AE-969A-4547-AF3A-B7A2EFB890D6}" dt="2022-10-11T01:55:19.018" v="19"/>
          <ac:spMkLst>
            <pc:docMk/>
            <pc:sldMk cId="2829018850" sldId="2214"/>
            <ac:spMk id="3" creationId="{E7A26292-23DB-44E5-949D-BAFE0A7919DF}"/>
          </ac:spMkLst>
        </pc:spChg>
        <pc:spChg chg="mod">
          <ac:chgData name="Aurelien Domont" userId="6da7715ce44349b3" providerId="LiveId" clId="{8A0023AE-969A-4547-AF3A-B7A2EFB890D6}" dt="2022-10-11T01:55:19.018" v="19"/>
          <ac:spMkLst>
            <pc:docMk/>
            <pc:sldMk cId="2829018850" sldId="2214"/>
            <ac:spMk id="16" creationId="{6C2BB713-9637-4B9B-938F-E9768876782A}"/>
          </ac:spMkLst>
        </pc:spChg>
      </pc:sldChg>
      <pc:sldChg chg="modSp del">
        <pc:chgData name="Aurelien Domont" userId="6da7715ce44349b3" providerId="LiveId" clId="{8A0023AE-969A-4547-AF3A-B7A2EFB890D6}" dt="2022-10-11T03:08:24.677" v="1149" actId="47"/>
        <pc:sldMkLst>
          <pc:docMk/>
          <pc:sldMk cId="2903145634" sldId="2215"/>
        </pc:sldMkLst>
        <pc:spChg chg="mod">
          <ac:chgData name="Aurelien Domont" userId="6da7715ce44349b3" providerId="LiveId" clId="{8A0023AE-969A-4547-AF3A-B7A2EFB890D6}" dt="2022-10-11T01:55:19.018" v="19"/>
          <ac:spMkLst>
            <pc:docMk/>
            <pc:sldMk cId="2903145634" sldId="2215"/>
            <ac:spMk id="2" creationId="{A67BEC9B-911F-478E-9C56-72957F18467D}"/>
          </ac:spMkLst>
        </pc:spChg>
        <pc:spChg chg="mod">
          <ac:chgData name="Aurelien Domont" userId="6da7715ce44349b3" providerId="LiveId" clId="{8A0023AE-969A-4547-AF3A-B7A2EFB890D6}" dt="2022-10-11T01:55:19.018" v="19"/>
          <ac:spMkLst>
            <pc:docMk/>
            <pc:sldMk cId="2903145634" sldId="2215"/>
            <ac:spMk id="14" creationId="{C9800183-F524-4412-AB39-A6E1A21FF0B3}"/>
          </ac:spMkLst>
        </pc:spChg>
      </pc:sldChg>
      <pc:sldChg chg="delSp modSp add mod">
        <pc:chgData name="Aurelien Domont" userId="6da7715ce44349b3" providerId="LiveId" clId="{8A0023AE-969A-4547-AF3A-B7A2EFB890D6}" dt="2022-10-11T02:09:10.884" v="115" actId="6549"/>
        <pc:sldMkLst>
          <pc:docMk/>
          <pc:sldMk cId="4068453638" sldId="2224"/>
        </pc:sldMkLst>
        <pc:spChg chg="mod">
          <ac:chgData name="Aurelien Domont" userId="6da7715ce44349b3" providerId="LiveId" clId="{8A0023AE-969A-4547-AF3A-B7A2EFB890D6}" dt="2022-10-11T01:55:19.018" v="19"/>
          <ac:spMkLst>
            <pc:docMk/>
            <pc:sldMk cId="4068453638" sldId="2224"/>
            <ac:spMk id="2" creationId="{7E59BDBC-013A-4F26-9A6C-B3762BFDD4CF}"/>
          </ac:spMkLst>
        </pc:spChg>
        <pc:spChg chg="mod">
          <ac:chgData name="Aurelien Domont" userId="6da7715ce44349b3" providerId="LiveId" clId="{8A0023AE-969A-4547-AF3A-B7A2EFB890D6}" dt="2022-10-11T01:55:19.018" v="19"/>
          <ac:spMkLst>
            <pc:docMk/>
            <pc:sldMk cId="4068453638" sldId="2224"/>
            <ac:spMk id="16" creationId="{6C2BB713-9637-4B9B-938F-E9768876782A}"/>
          </ac:spMkLst>
        </pc:spChg>
        <pc:spChg chg="del">
          <ac:chgData name="Aurelien Domont" userId="6da7715ce44349b3" providerId="LiveId" clId="{8A0023AE-969A-4547-AF3A-B7A2EFB890D6}" dt="2022-10-11T02:05:45.221" v="76" actId="478"/>
          <ac:spMkLst>
            <pc:docMk/>
            <pc:sldMk cId="4068453638" sldId="2224"/>
            <ac:spMk id="19" creationId="{C99F7AB7-E430-4AD6-B5CF-3C350EA8CD45}"/>
          </ac:spMkLst>
        </pc:spChg>
        <pc:spChg chg="del">
          <ac:chgData name="Aurelien Domont" userId="6da7715ce44349b3" providerId="LiveId" clId="{8A0023AE-969A-4547-AF3A-B7A2EFB890D6}" dt="2022-10-11T02:05:45.221" v="76" actId="478"/>
          <ac:spMkLst>
            <pc:docMk/>
            <pc:sldMk cId="4068453638" sldId="2224"/>
            <ac:spMk id="20" creationId="{1EC8FE9F-12FA-4A2A-A85F-E4BB88206FFA}"/>
          </ac:spMkLst>
        </pc:spChg>
        <pc:spChg chg="del">
          <ac:chgData name="Aurelien Domont" userId="6da7715ce44349b3" providerId="LiveId" clId="{8A0023AE-969A-4547-AF3A-B7A2EFB890D6}" dt="2022-10-11T02:05:45.221" v="76" actId="478"/>
          <ac:spMkLst>
            <pc:docMk/>
            <pc:sldMk cId="4068453638" sldId="2224"/>
            <ac:spMk id="21" creationId="{30572570-EA5B-4A2C-8F7C-73E52D7DC126}"/>
          </ac:spMkLst>
        </pc:spChg>
        <pc:spChg chg="mod">
          <ac:chgData name="Aurelien Domont" userId="6da7715ce44349b3" providerId="LiveId" clId="{8A0023AE-969A-4547-AF3A-B7A2EFB890D6}" dt="2022-10-11T02:09:10.884" v="115" actId="6549"/>
          <ac:spMkLst>
            <pc:docMk/>
            <pc:sldMk cId="4068453638" sldId="2224"/>
            <ac:spMk id="38" creationId="{7276DE6B-C0AB-4711-B17E-CC16A1739507}"/>
          </ac:spMkLst>
        </pc:spChg>
      </pc:sldChg>
      <pc:sldChg chg="addSp modSp add mod">
        <pc:chgData name="Aurelien Domont" userId="6da7715ce44349b3" providerId="LiveId" clId="{8A0023AE-969A-4547-AF3A-B7A2EFB890D6}" dt="2022-10-11T02:09:20.700" v="117"/>
        <pc:sldMkLst>
          <pc:docMk/>
          <pc:sldMk cId="3991579332" sldId="2225"/>
        </pc:sldMkLst>
        <pc:spChg chg="mod">
          <ac:chgData name="Aurelien Domont" userId="6da7715ce44349b3" providerId="LiveId" clId="{8A0023AE-969A-4547-AF3A-B7A2EFB890D6}" dt="2022-10-11T01:55:19.018" v="19"/>
          <ac:spMkLst>
            <pc:docMk/>
            <pc:sldMk cId="3991579332" sldId="2225"/>
            <ac:spMk id="2" creationId="{7E59BDBC-013A-4F26-9A6C-B3762BFDD4CF}"/>
          </ac:spMkLst>
        </pc:spChg>
        <pc:spChg chg="add mod">
          <ac:chgData name="Aurelien Domont" userId="6da7715ce44349b3" providerId="LiveId" clId="{8A0023AE-969A-4547-AF3A-B7A2EFB890D6}" dt="2022-10-11T02:06:36.238" v="86"/>
          <ac:spMkLst>
            <pc:docMk/>
            <pc:sldMk cId="3991579332" sldId="2225"/>
            <ac:spMk id="3" creationId="{539B61A0-3E8C-39D7-36D0-DC235EC52102}"/>
          </ac:spMkLst>
        </pc:spChg>
        <pc:spChg chg="mod">
          <ac:chgData name="Aurelien Domont" userId="6da7715ce44349b3" providerId="LiveId" clId="{8A0023AE-969A-4547-AF3A-B7A2EFB890D6}" dt="2022-10-11T01:55:19.018" v="19"/>
          <ac:spMkLst>
            <pc:docMk/>
            <pc:sldMk cId="3991579332" sldId="2225"/>
            <ac:spMk id="16" creationId="{6C2BB713-9637-4B9B-938F-E9768876782A}"/>
          </ac:spMkLst>
        </pc:spChg>
        <pc:spChg chg="mod">
          <ac:chgData name="Aurelien Domont" userId="6da7715ce44349b3" providerId="LiveId" clId="{8A0023AE-969A-4547-AF3A-B7A2EFB890D6}" dt="2022-10-11T02:07:39.571" v="97" actId="14100"/>
          <ac:spMkLst>
            <pc:docMk/>
            <pc:sldMk cId="3991579332" sldId="2225"/>
            <ac:spMk id="22" creationId="{D65C1EC9-2600-428A-8825-8D9F1A2BF17B}"/>
          </ac:spMkLst>
        </pc:spChg>
        <pc:spChg chg="mod">
          <ac:chgData name="Aurelien Domont" userId="6da7715ce44349b3" providerId="LiveId" clId="{8A0023AE-969A-4547-AF3A-B7A2EFB890D6}" dt="2022-10-11T02:07:48.752" v="103" actId="14100"/>
          <ac:spMkLst>
            <pc:docMk/>
            <pc:sldMk cId="3991579332" sldId="2225"/>
            <ac:spMk id="23" creationId="{3BA2E69B-23EE-4D22-A1C6-F6A6A03AFE85}"/>
          </ac:spMkLst>
        </pc:spChg>
        <pc:spChg chg="mod">
          <ac:chgData name="Aurelien Domont" userId="6da7715ce44349b3" providerId="LiveId" clId="{8A0023AE-969A-4547-AF3A-B7A2EFB890D6}" dt="2022-10-11T02:07:55.540" v="107" actId="14100"/>
          <ac:spMkLst>
            <pc:docMk/>
            <pc:sldMk cId="3991579332" sldId="2225"/>
            <ac:spMk id="24" creationId="{5D040712-C5FA-4DBE-A06C-2BF0213AA769}"/>
          </ac:spMkLst>
        </pc:spChg>
        <pc:spChg chg="mod">
          <ac:chgData name="Aurelien Domont" userId="6da7715ce44349b3" providerId="LiveId" clId="{8A0023AE-969A-4547-AF3A-B7A2EFB890D6}" dt="2022-10-11T02:09:20.700" v="117"/>
          <ac:spMkLst>
            <pc:docMk/>
            <pc:sldMk cId="3991579332" sldId="2225"/>
            <ac:spMk id="38" creationId="{7276DE6B-C0AB-4711-B17E-CC16A1739507}"/>
          </ac:spMkLst>
        </pc:spChg>
      </pc:sldChg>
      <pc:sldChg chg="addSp modSp add mod">
        <pc:chgData name="Aurelien Domont" userId="6da7715ce44349b3" providerId="LiveId" clId="{8A0023AE-969A-4547-AF3A-B7A2EFB890D6}" dt="2022-10-11T03:09:34.393" v="1158" actId="20577"/>
        <pc:sldMkLst>
          <pc:docMk/>
          <pc:sldMk cId="3976172455" sldId="2226"/>
        </pc:sldMkLst>
        <pc:spChg chg="mod">
          <ac:chgData name="Aurelien Domont" userId="6da7715ce44349b3" providerId="LiveId" clId="{8A0023AE-969A-4547-AF3A-B7A2EFB890D6}" dt="2022-10-11T01:55:19.018" v="19"/>
          <ac:spMkLst>
            <pc:docMk/>
            <pc:sldMk cId="3976172455" sldId="2226"/>
            <ac:spMk id="2" creationId="{A67BEC9B-911F-478E-9C56-72957F18467D}"/>
          </ac:spMkLst>
        </pc:spChg>
        <pc:spChg chg="add mod">
          <ac:chgData name="Aurelien Domont" userId="6da7715ce44349b3" providerId="LiveId" clId="{8A0023AE-969A-4547-AF3A-B7A2EFB890D6}" dt="2022-10-11T03:09:34.393" v="1158" actId="20577"/>
          <ac:spMkLst>
            <pc:docMk/>
            <pc:sldMk cId="3976172455" sldId="2226"/>
            <ac:spMk id="3" creationId="{EDA72BD0-EAA5-55B1-415C-704808FAD802}"/>
          </ac:spMkLst>
        </pc:spChg>
        <pc:spChg chg="mod">
          <ac:chgData name="Aurelien Domont" userId="6da7715ce44349b3" providerId="LiveId" clId="{8A0023AE-969A-4547-AF3A-B7A2EFB890D6}" dt="2022-10-11T01:55:19.018" v="19"/>
          <ac:spMkLst>
            <pc:docMk/>
            <pc:sldMk cId="3976172455" sldId="2226"/>
            <ac:spMk id="14" creationId="{C9800183-F524-4412-AB39-A6E1A21FF0B3}"/>
          </ac:spMkLst>
        </pc:spChg>
      </pc:sldChg>
      <pc:sldChg chg="modSp add del">
        <pc:chgData name="Aurelien Domont" userId="6da7715ce44349b3" providerId="LiveId" clId="{8A0023AE-969A-4547-AF3A-B7A2EFB890D6}" dt="2022-10-11T01:56:59.746" v="24" actId="47"/>
        <pc:sldMkLst>
          <pc:docMk/>
          <pc:sldMk cId="2171900201" sldId="2227"/>
        </pc:sldMkLst>
        <pc:spChg chg="mod">
          <ac:chgData name="Aurelien Domont" userId="6da7715ce44349b3" providerId="LiveId" clId="{8A0023AE-969A-4547-AF3A-B7A2EFB890D6}" dt="2022-10-11T01:55:19.018" v="19"/>
          <ac:spMkLst>
            <pc:docMk/>
            <pc:sldMk cId="2171900201" sldId="2227"/>
            <ac:spMk id="2" creationId="{63F277BE-B192-4EBA-977A-D3854CBCD4C8}"/>
          </ac:spMkLst>
        </pc:spChg>
        <pc:spChg chg="mod">
          <ac:chgData name="Aurelien Domont" userId="6da7715ce44349b3" providerId="LiveId" clId="{8A0023AE-969A-4547-AF3A-B7A2EFB890D6}" dt="2022-10-11T01:55:19.018" v="19"/>
          <ac:spMkLst>
            <pc:docMk/>
            <pc:sldMk cId="2171900201" sldId="2227"/>
            <ac:spMk id="4" creationId="{67590828-6C1C-4AC3-9FBF-8A5D2EB3D413}"/>
          </ac:spMkLst>
        </pc:spChg>
      </pc:sldChg>
      <pc:sldChg chg="add">
        <pc:chgData name="Aurelien Domont" userId="6da7715ce44349b3" providerId="LiveId" clId="{8A0023AE-969A-4547-AF3A-B7A2EFB890D6}" dt="2022-10-11T01:57:04.542" v="25"/>
        <pc:sldMkLst>
          <pc:docMk/>
          <pc:sldMk cId="654898064" sldId="2365"/>
        </pc:sldMkLst>
      </pc:sldChg>
      <pc:sldChg chg="addSp delSp modSp add mod">
        <pc:chgData name="Aurelien Domont" userId="6da7715ce44349b3" providerId="LiveId" clId="{8A0023AE-969A-4547-AF3A-B7A2EFB890D6}" dt="2022-10-12T22:33:03.502" v="1391"/>
        <pc:sldMkLst>
          <pc:docMk/>
          <pc:sldMk cId="2233641397" sldId="2366"/>
        </pc:sldMkLst>
        <pc:spChg chg="add mod">
          <ac:chgData name="Aurelien Domont" userId="6da7715ce44349b3" providerId="LiveId" clId="{8A0023AE-969A-4547-AF3A-B7A2EFB890D6}" dt="2022-10-12T05:08:18.410" v="1273"/>
          <ac:spMkLst>
            <pc:docMk/>
            <pc:sldMk cId="2233641397" sldId="2366"/>
            <ac:spMk id="2" creationId="{634C2493-B0CB-E3BC-B762-0AC0CA1CCA9E}"/>
          </ac:spMkLst>
        </pc:spChg>
        <pc:spChg chg="del">
          <ac:chgData name="Aurelien Domont" userId="6da7715ce44349b3" providerId="LiveId" clId="{8A0023AE-969A-4547-AF3A-B7A2EFB890D6}" dt="2022-10-11T01:57:14.459" v="27" actId="478"/>
          <ac:spMkLst>
            <pc:docMk/>
            <pc:sldMk cId="2233641397" sldId="2366"/>
            <ac:spMk id="2" creationId="{CA865B02-1B0E-59F2-BD22-E5A3249D7259}"/>
          </ac:spMkLst>
        </pc:spChg>
        <pc:spChg chg="add mod">
          <ac:chgData name="Aurelien Domont" userId="6da7715ce44349b3" providerId="LiveId" clId="{8A0023AE-969A-4547-AF3A-B7A2EFB890D6}" dt="2022-10-12T05:08:27.272" v="1275" actId="207"/>
          <ac:spMkLst>
            <pc:docMk/>
            <pc:sldMk cId="2233641397" sldId="2366"/>
            <ac:spMk id="4" creationId="{9A971A6B-3191-1AF5-ECCD-2F51AB8816F7}"/>
          </ac:spMkLst>
        </pc:spChg>
        <pc:spChg chg="del">
          <ac:chgData name="Aurelien Domont" userId="6da7715ce44349b3" providerId="LiveId" clId="{8A0023AE-969A-4547-AF3A-B7A2EFB890D6}" dt="2022-10-11T01:57:14.459" v="27" actId="478"/>
          <ac:spMkLst>
            <pc:docMk/>
            <pc:sldMk cId="2233641397" sldId="2366"/>
            <ac:spMk id="4" creationId="{BBD79C4F-7544-89B7-15A6-E54CCE18F591}"/>
          </ac:spMkLst>
        </pc:spChg>
        <pc:spChg chg="del">
          <ac:chgData name="Aurelien Domont" userId="6da7715ce44349b3" providerId="LiveId" clId="{8A0023AE-969A-4547-AF3A-B7A2EFB890D6}" dt="2022-10-11T01:57:14.459" v="27" actId="478"/>
          <ac:spMkLst>
            <pc:docMk/>
            <pc:sldMk cId="2233641397" sldId="2366"/>
            <ac:spMk id="5" creationId="{866BA0FF-4350-15D1-6B88-254DFA7D2EBC}"/>
          </ac:spMkLst>
        </pc:spChg>
        <pc:spChg chg="add mod">
          <ac:chgData name="Aurelien Domont" userId="6da7715ce44349b3" providerId="LiveId" clId="{8A0023AE-969A-4547-AF3A-B7A2EFB890D6}" dt="2022-10-12T05:08:18.410" v="1273"/>
          <ac:spMkLst>
            <pc:docMk/>
            <pc:sldMk cId="2233641397" sldId="2366"/>
            <ac:spMk id="5" creationId="{C05AAB5D-D969-19EC-99C2-F607C8A9E70C}"/>
          </ac:spMkLst>
        </pc:spChg>
        <pc:spChg chg="add mod">
          <ac:chgData name="Aurelien Domont" userId="6da7715ce44349b3" providerId="LiveId" clId="{8A0023AE-969A-4547-AF3A-B7A2EFB890D6}" dt="2022-10-12T05:08:18.410" v="1273"/>
          <ac:spMkLst>
            <pc:docMk/>
            <pc:sldMk cId="2233641397" sldId="2366"/>
            <ac:spMk id="7" creationId="{35474DBB-EED9-2449-D0C6-AB3DE92DD29F}"/>
          </ac:spMkLst>
        </pc:spChg>
        <pc:spChg chg="del">
          <ac:chgData name="Aurelien Domont" userId="6da7715ce44349b3" providerId="LiveId" clId="{8A0023AE-969A-4547-AF3A-B7A2EFB890D6}" dt="2022-10-11T01:57:14.459" v="27" actId="478"/>
          <ac:spMkLst>
            <pc:docMk/>
            <pc:sldMk cId="2233641397" sldId="2366"/>
            <ac:spMk id="7" creationId="{FA534827-00AD-11A6-18CC-9ED21ED547A6}"/>
          </ac:spMkLst>
        </pc:spChg>
        <pc:spChg chg="add mod">
          <ac:chgData name="Aurelien Domont" userId="6da7715ce44349b3" providerId="LiveId" clId="{8A0023AE-969A-4547-AF3A-B7A2EFB890D6}" dt="2022-10-12T22:33:03.502" v="1391"/>
          <ac:spMkLst>
            <pc:docMk/>
            <pc:sldMk cId="2233641397" sldId="2366"/>
            <ac:spMk id="8" creationId="{304E2F29-437F-D4C3-EE32-AD5C3804BA7D}"/>
          </ac:spMkLst>
        </pc:spChg>
        <pc:spChg chg="del">
          <ac:chgData name="Aurelien Domont" userId="6da7715ce44349b3" providerId="LiveId" clId="{8A0023AE-969A-4547-AF3A-B7A2EFB890D6}" dt="2022-10-11T01:57:14.459" v="27" actId="478"/>
          <ac:spMkLst>
            <pc:docMk/>
            <pc:sldMk cId="2233641397" sldId="2366"/>
            <ac:spMk id="8" creationId="{408AADB2-7933-1952-5871-301BEAEECC4C}"/>
          </ac:spMkLst>
        </pc:spChg>
        <pc:spChg chg="add mod">
          <ac:chgData name="Aurelien Domont" userId="6da7715ce44349b3" providerId="LiveId" clId="{8A0023AE-969A-4547-AF3A-B7A2EFB890D6}" dt="2022-10-12T05:08:18.410" v="1273"/>
          <ac:spMkLst>
            <pc:docMk/>
            <pc:sldMk cId="2233641397" sldId="2366"/>
            <ac:spMk id="9" creationId="{87F03373-E41B-2E36-ECAF-3BCB7D1EFA03}"/>
          </ac:spMkLst>
        </pc:spChg>
        <pc:spChg chg="del">
          <ac:chgData name="Aurelien Domont" userId="6da7715ce44349b3" providerId="LiveId" clId="{8A0023AE-969A-4547-AF3A-B7A2EFB890D6}" dt="2022-10-11T01:57:14.459" v="27" actId="478"/>
          <ac:spMkLst>
            <pc:docMk/>
            <pc:sldMk cId="2233641397" sldId="2366"/>
            <ac:spMk id="9" creationId="{8CC559DD-8B87-A46F-2B12-564A6B915270}"/>
          </ac:spMkLst>
        </pc:spChg>
        <pc:spChg chg="add mod">
          <ac:chgData name="Aurelien Domont" userId="6da7715ce44349b3" providerId="LiveId" clId="{8A0023AE-969A-4547-AF3A-B7A2EFB890D6}" dt="2022-10-12T05:08:18.410" v="1273"/>
          <ac:spMkLst>
            <pc:docMk/>
            <pc:sldMk cId="2233641397" sldId="2366"/>
            <ac:spMk id="11" creationId="{9FE74E8D-C15B-D15A-F63F-F9AED6D1DB30}"/>
          </ac:spMkLst>
        </pc:spChg>
        <pc:spChg chg="del">
          <ac:chgData name="Aurelien Domont" userId="6da7715ce44349b3" providerId="LiveId" clId="{8A0023AE-969A-4547-AF3A-B7A2EFB890D6}" dt="2022-10-11T01:57:14.459" v="27" actId="478"/>
          <ac:spMkLst>
            <pc:docMk/>
            <pc:sldMk cId="2233641397" sldId="2366"/>
            <ac:spMk id="11" creationId="{F607942A-782D-8940-2265-041C909EB368}"/>
          </ac:spMkLst>
        </pc:spChg>
        <pc:spChg chg="add mod">
          <ac:chgData name="Aurelien Domont" userId="6da7715ce44349b3" providerId="LiveId" clId="{8A0023AE-969A-4547-AF3A-B7A2EFB890D6}" dt="2022-10-12T05:08:18.410" v="1273"/>
          <ac:spMkLst>
            <pc:docMk/>
            <pc:sldMk cId="2233641397" sldId="2366"/>
            <ac:spMk id="12" creationId="{C6451798-B116-E732-1271-5A69331D3F80}"/>
          </ac:spMkLst>
        </pc:spChg>
        <pc:spChg chg="del">
          <ac:chgData name="Aurelien Domont" userId="6da7715ce44349b3" providerId="LiveId" clId="{8A0023AE-969A-4547-AF3A-B7A2EFB890D6}" dt="2022-10-11T01:57:14.459" v="27" actId="478"/>
          <ac:spMkLst>
            <pc:docMk/>
            <pc:sldMk cId="2233641397" sldId="2366"/>
            <ac:spMk id="12" creationId="{ED5C2D2F-5518-0175-F335-B9697922E4B0}"/>
          </ac:spMkLst>
        </pc:spChg>
        <pc:spChg chg="add del mod">
          <ac:chgData name="Aurelien Domont" userId="6da7715ce44349b3" providerId="LiveId" clId="{8A0023AE-969A-4547-AF3A-B7A2EFB890D6}" dt="2022-10-12T05:08:17.404" v="1272" actId="478"/>
          <ac:spMkLst>
            <pc:docMk/>
            <pc:sldMk cId="2233641397" sldId="2366"/>
            <ac:spMk id="14" creationId="{BA0836D4-9EC0-0BEE-E5D4-7224BFEE1F19}"/>
          </ac:spMkLst>
        </pc:spChg>
        <pc:spChg chg="mod">
          <ac:chgData name="Aurelien Domont" userId="6da7715ce44349b3" providerId="LiveId" clId="{8A0023AE-969A-4547-AF3A-B7A2EFB890D6}" dt="2022-10-11T01:57:17.628" v="33" actId="20577"/>
          <ac:spMkLst>
            <pc:docMk/>
            <pc:sldMk cId="2233641397" sldId="2366"/>
            <ac:spMk id="16" creationId="{6C2BB713-9637-4B9B-938F-E9768876782A}"/>
          </ac:spMkLst>
        </pc:spChg>
        <pc:spChg chg="add del mod">
          <ac:chgData name="Aurelien Domont" userId="6da7715ce44349b3" providerId="LiveId" clId="{8A0023AE-969A-4547-AF3A-B7A2EFB890D6}" dt="2022-10-12T05:08:17.404" v="1272" actId="478"/>
          <ac:spMkLst>
            <pc:docMk/>
            <pc:sldMk cId="2233641397" sldId="2366"/>
            <ac:spMk id="17" creationId="{BF8DF2D5-FAC9-0EF7-919A-45C56690F72C}"/>
          </ac:spMkLst>
        </pc:spChg>
        <pc:spChg chg="add del mod">
          <ac:chgData name="Aurelien Domont" userId="6da7715ce44349b3" providerId="LiveId" clId="{8A0023AE-969A-4547-AF3A-B7A2EFB890D6}" dt="2022-10-12T05:08:17.404" v="1272" actId="478"/>
          <ac:spMkLst>
            <pc:docMk/>
            <pc:sldMk cId="2233641397" sldId="2366"/>
            <ac:spMk id="18" creationId="{6BF08EED-77A6-CF00-2F73-98F6EF3BEE72}"/>
          </ac:spMkLst>
        </pc:spChg>
        <pc:spChg chg="add del mod">
          <ac:chgData name="Aurelien Domont" userId="6da7715ce44349b3" providerId="LiveId" clId="{8A0023AE-969A-4547-AF3A-B7A2EFB890D6}" dt="2022-10-12T05:08:17.404" v="1272" actId="478"/>
          <ac:spMkLst>
            <pc:docMk/>
            <pc:sldMk cId="2233641397" sldId="2366"/>
            <ac:spMk id="20" creationId="{952D49D9-56E5-D339-6DBA-03CA88F75A3A}"/>
          </ac:spMkLst>
        </pc:spChg>
        <pc:spChg chg="add del mod">
          <ac:chgData name="Aurelien Domont" userId="6da7715ce44349b3" providerId="LiveId" clId="{8A0023AE-969A-4547-AF3A-B7A2EFB890D6}" dt="2022-10-12T05:08:17.404" v="1272" actId="478"/>
          <ac:spMkLst>
            <pc:docMk/>
            <pc:sldMk cId="2233641397" sldId="2366"/>
            <ac:spMk id="21" creationId="{DA75DA55-C6A2-BB90-7808-0B4CE8449A30}"/>
          </ac:spMkLst>
        </pc:spChg>
        <pc:spChg chg="add del mod">
          <ac:chgData name="Aurelien Domont" userId="6da7715ce44349b3" providerId="LiveId" clId="{8A0023AE-969A-4547-AF3A-B7A2EFB890D6}" dt="2022-10-12T05:08:17.404" v="1272" actId="478"/>
          <ac:spMkLst>
            <pc:docMk/>
            <pc:sldMk cId="2233641397" sldId="2366"/>
            <ac:spMk id="22" creationId="{660BF66F-63F0-1C73-C875-AE89CCA3BEBE}"/>
          </ac:spMkLst>
        </pc:spChg>
        <pc:spChg chg="add del mod">
          <ac:chgData name="Aurelien Domont" userId="6da7715ce44349b3" providerId="LiveId" clId="{8A0023AE-969A-4547-AF3A-B7A2EFB890D6}" dt="2022-10-12T05:08:17.404" v="1272" actId="478"/>
          <ac:spMkLst>
            <pc:docMk/>
            <pc:sldMk cId="2233641397" sldId="2366"/>
            <ac:spMk id="24" creationId="{C1C6A3E7-8860-5C32-81DF-E026D94E6B68}"/>
          </ac:spMkLst>
        </pc:spChg>
        <pc:spChg chg="add del mod">
          <ac:chgData name="Aurelien Domont" userId="6da7715ce44349b3" providerId="LiveId" clId="{8A0023AE-969A-4547-AF3A-B7A2EFB890D6}" dt="2022-10-12T05:08:17.404" v="1272" actId="478"/>
          <ac:spMkLst>
            <pc:docMk/>
            <pc:sldMk cId="2233641397" sldId="2366"/>
            <ac:spMk id="25" creationId="{6DF5D98D-5B3F-0047-173C-FEFB72EA3A98}"/>
          </ac:spMkLst>
        </pc:spChg>
        <pc:picChg chg="add del mod">
          <ac:chgData name="Aurelien Domont" userId="6da7715ce44349b3" providerId="LiveId" clId="{8A0023AE-969A-4547-AF3A-B7A2EFB890D6}" dt="2022-10-12T05:08:17.404" v="1272" actId="478"/>
          <ac:picMkLst>
            <pc:docMk/>
            <pc:sldMk cId="2233641397" sldId="2366"/>
            <ac:picMk id="27" creationId="{0C1AED21-98D0-004E-9F14-C727FFA842D5}"/>
          </ac:picMkLst>
        </pc:picChg>
        <pc:picChg chg="add del mod">
          <ac:chgData name="Aurelien Domont" userId="6da7715ce44349b3" providerId="LiveId" clId="{8A0023AE-969A-4547-AF3A-B7A2EFB890D6}" dt="2022-10-12T05:08:17.404" v="1272" actId="478"/>
          <ac:picMkLst>
            <pc:docMk/>
            <pc:sldMk cId="2233641397" sldId="2366"/>
            <ac:picMk id="28" creationId="{79EB2BC3-755C-0CFA-FE65-4AE4A6D42BC4}"/>
          </ac:picMkLst>
        </pc:picChg>
        <pc:picChg chg="add del mod">
          <ac:chgData name="Aurelien Domont" userId="6da7715ce44349b3" providerId="LiveId" clId="{8A0023AE-969A-4547-AF3A-B7A2EFB890D6}" dt="2022-10-12T05:08:17.404" v="1272" actId="478"/>
          <ac:picMkLst>
            <pc:docMk/>
            <pc:sldMk cId="2233641397" sldId="2366"/>
            <ac:picMk id="29" creationId="{FDA05F75-D04A-88D9-DB80-E934F76647D5}"/>
          </ac:picMkLst>
        </pc:picChg>
        <pc:picChg chg="add del mod">
          <ac:chgData name="Aurelien Domont" userId="6da7715ce44349b3" providerId="LiveId" clId="{8A0023AE-969A-4547-AF3A-B7A2EFB890D6}" dt="2022-10-12T05:08:17.404" v="1272" actId="478"/>
          <ac:picMkLst>
            <pc:docMk/>
            <pc:sldMk cId="2233641397" sldId="2366"/>
            <ac:picMk id="30" creationId="{1404A518-5257-C1EB-16F6-A4BD17093886}"/>
          </ac:picMkLst>
        </pc:picChg>
        <pc:picChg chg="add mod">
          <ac:chgData name="Aurelien Domont" userId="6da7715ce44349b3" providerId="LiveId" clId="{8A0023AE-969A-4547-AF3A-B7A2EFB890D6}" dt="2022-10-12T05:08:24.249" v="1274"/>
          <ac:picMkLst>
            <pc:docMk/>
            <pc:sldMk cId="2233641397" sldId="2366"/>
            <ac:picMk id="31" creationId="{FFC12117-205C-AA8B-B225-078D1474A309}"/>
          </ac:picMkLst>
        </pc:picChg>
        <pc:picChg chg="add mod">
          <ac:chgData name="Aurelien Domont" userId="6da7715ce44349b3" providerId="LiveId" clId="{8A0023AE-969A-4547-AF3A-B7A2EFB890D6}" dt="2022-10-12T05:08:24.249" v="1274"/>
          <ac:picMkLst>
            <pc:docMk/>
            <pc:sldMk cId="2233641397" sldId="2366"/>
            <ac:picMk id="32" creationId="{3ACEDDDB-86DE-E681-36B9-AC903222D9C8}"/>
          </ac:picMkLst>
        </pc:picChg>
        <pc:picChg chg="add mod">
          <ac:chgData name="Aurelien Domont" userId="6da7715ce44349b3" providerId="LiveId" clId="{8A0023AE-969A-4547-AF3A-B7A2EFB890D6}" dt="2022-10-12T05:08:24.249" v="1274"/>
          <ac:picMkLst>
            <pc:docMk/>
            <pc:sldMk cId="2233641397" sldId="2366"/>
            <ac:picMk id="33" creationId="{8D58BF8C-D936-4BCC-FD69-DD0E2D9D6DBF}"/>
          </ac:picMkLst>
        </pc:picChg>
        <pc:picChg chg="add mod">
          <ac:chgData name="Aurelien Domont" userId="6da7715ce44349b3" providerId="LiveId" clId="{8A0023AE-969A-4547-AF3A-B7A2EFB890D6}" dt="2022-10-12T05:08:24.249" v="1274"/>
          <ac:picMkLst>
            <pc:docMk/>
            <pc:sldMk cId="2233641397" sldId="2366"/>
            <ac:picMk id="34" creationId="{63E55399-9150-342D-364C-37E577ECAAE4}"/>
          </ac:picMkLst>
        </pc:picChg>
        <pc:cxnChg chg="del">
          <ac:chgData name="Aurelien Domont" userId="6da7715ce44349b3" providerId="LiveId" clId="{8A0023AE-969A-4547-AF3A-B7A2EFB890D6}" dt="2022-10-11T01:57:14.459" v="27" actId="478"/>
          <ac:cxnSpMkLst>
            <pc:docMk/>
            <pc:sldMk cId="2233641397" sldId="2366"/>
            <ac:cxnSpMk id="6" creationId="{0AE4B755-19AD-31C8-B90C-BF2015E68605}"/>
          </ac:cxnSpMkLst>
        </pc:cxnChg>
        <pc:cxnChg chg="add mod">
          <ac:chgData name="Aurelien Domont" userId="6da7715ce44349b3" providerId="LiveId" clId="{8A0023AE-969A-4547-AF3A-B7A2EFB890D6}" dt="2022-10-12T05:08:18.410" v="1273"/>
          <ac:cxnSpMkLst>
            <pc:docMk/>
            <pc:sldMk cId="2233641397" sldId="2366"/>
            <ac:cxnSpMk id="6" creationId="{228438F6-1A9C-9F53-D7F0-40891DE39251}"/>
          </ac:cxnSpMkLst>
        </pc:cxnChg>
        <pc:cxnChg chg="add mod">
          <ac:chgData name="Aurelien Domont" userId="6da7715ce44349b3" providerId="LiveId" clId="{8A0023AE-969A-4547-AF3A-B7A2EFB890D6}" dt="2022-10-12T05:08:18.410" v="1273"/>
          <ac:cxnSpMkLst>
            <pc:docMk/>
            <pc:sldMk cId="2233641397" sldId="2366"/>
            <ac:cxnSpMk id="10" creationId="{7DA3839A-DBA7-1895-3771-6EFA9DE62CCE}"/>
          </ac:cxnSpMkLst>
        </pc:cxnChg>
        <pc:cxnChg chg="del">
          <ac:chgData name="Aurelien Domont" userId="6da7715ce44349b3" providerId="LiveId" clId="{8A0023AE-969A-4547-AF3A-B7A2EFB890D6}" dt="2022-10-11T01:57:14.459" v="27" actId="478"/>
          <ac:cxnSpMkLst>
            <pc:docMk/>
            <pc:sldMk cId="2233641397" sldId="2366"/>
            <ac:cxnSpMk id="10" creationId="{FC4881A4-1131-BC84-A50E-88A9924D44AE}"/>
          </ac:cxnSpMkLst>
        </pc:cxnChg>
        <pc:cxnChg chg="del">
          <ac:chgData name="Aurelien Domont" userId="6da7715ce44349b3" providerId="LiveId" clId="{8A0023AE-969A-4547-AF3A-B7A2EFB890D6}" dt="2022-10-11T01:57:14.459" v="27" actId="478"/>
          <ac:cxnSpMkLst>
            <pc:docMk/>
            <pc:sldMk cId="2233641397" sldId="2366"/>
            <ac:cxnSpMk id="15" creationId="{8D1B670A-981D-7D75-7792-A6BEA350A9AE}"/>
          </ac:cxnSpMkLst>
        </pc:cxnChg>
        <pc:cxnChg chg="add mod">
          <ac:chgData name="Aurelien Domont" userId="6da7715ce44349b3" providerId="LiveId" clId="{8A0023AE-969A-4547-AF3A-B7A2EFB890D6}" dt="2022-10-12T05:08:18.410" v="1273"/>
          <ac:cxnSpMkLst>
            <pc:docMk/>
            <pc:sldMk cId="2233641397" sldId="2366"/>
            <ac:cxnSpMk id="15" creationId="{A0AAD5C0-1BF4-A136-8011-5752926BE3E7}"/>
          </ac:cxnSpMkLst>
        </pc:cxnChg>
        <pc:cxnChg chg="add del mod">
          <ac:chgData name="Aurelien Domont" userId="6da7715ce44349b3" providerId="LiveId" clId="{8A0023AE-969A-4547-AF3A-B7A2EFB890D6}" dt="2022-10-12T05:08:17.404" v="1272" actId="478"/>
          <ac:cxnSpMkLst>
            <pc:docMk/>
            <pc:sldMk cId="2233641397" sldId="2366"/>
            <ac:cxnSpMk id="19" creationId="{E11FA181-5ED7-027E-D99F-5EA9352A5D9B}"/>
          </ac:cxnSpMkLst>
        </pc:cxnChg>
        <pc:cxnChg chg="add del mod">
          <ac:chgData name="Aurelien Domont" userId="6da7715ce44349b3" providerId="LiveId" clId="{8A0023AE-969A-4547-AF3A-B7A2EFB890D6}" dt="2022-10-12T05:08:17.404" v="1272" actId="478"/>
          <ac:cxnSpMkLst>
            <pc:docMk/>
            <pc:sldMk cId="2233641397" sldId="2366"/>
            <ac:cxnSpMk id="23" creationId="{EEEBAE7A-4209-A49D-9AA0-B91A9112D8F9}"/>
          </ac:cxnSpMkLst>
        </pc:cxnChg>
        <pc:cxnChg chg="add del mod">
          <ac:chgData name="Aurelien Domont" userId="6da7715ce44349b3" providerId="LiveId" clId="{8A0023AE-969A-4547-AF3A-B7A2EFB890D6}" dt="2022-10-12T05:08:17.404" v="1272" actId="478"/>
          <ac:cxnSpMkLst>
            <pc:docMk/>
            <pc:sldMk cId="2233641397" sldId="2366"/>
            <ac:cxnSpMk id="26" creationId="{94D6EEF1-104C-C621-E8D1-F14BE3D24505}"/>
          </ac:cxnSpMkLst>
        </pc:cxnChg>
      </pc:sldChg>
      <pc:sldChg chg="addSp delSp modSp add mod">
        <pc:chgData name="Aurelien Domont" userId="6da7715ce44349b3" providerId="LiveId" clId="{8A0023AE-969A-4547-AF3A-B7A2EFB890D6}" dt="2022-10-12T22:33:06.437" v="1392"/>
        <pc:sldMkLst>
          <pc:docMk/>
          <pc:sldMk cId="1405847947" sldId="2367"/>
        </pc:sldMkLst>
        <pc:spChg chg="add mod ord">
          <ac:chgData name="Aurelien Domont" userId="6da7715ce44349b3" providerId="LiveId" clId="{8A0023AE-969A-4547-AF3A-B7A2EFB890D6}" dt="2022-10-12T05:08:55.905" v="1282" actId="14100"/>
          <ac:spMkLst>
            <pc:docMk/>
            <pc:sldMk cId="1405847947" sldId="2367"/>
            <ac:spMk id="2" creationId="{F03AA675-CE53-0354-1BB9-59F694345992}"/>
          </ac:spMkLst>
        </pc:spChg>
        <pc:spChg chg="add mod">
          <ac:chgData name="Aurelien Domont" userId="6da7715ce44349b3" providerId="LiveId" clId="{8A0023AE-969A-4547-AF3A-B7A2EFB890D6}" dt="2022-10-12T05:08:40.627" v="1278"/>
          <ac:spMkLst>
            <pc:docMk/>
            <pc:sldMk cId="1405847947" sldId="2367"/>
            <ac:spMk id="4" creationId="{AC7E5FD7-6974-299B-6B55-B74A7683952A}"/>
          </ac:spMkLst>
        </pc:spChg>
        <pc:spChg chg="add mod">
          <ac:chgData name="Aurelien Domont" userId="6da7715ce44349b3" providerId="LiveId" clId="{8A0023AE-969A-4547-AF3A-B7A2EFB890D6}" dt="2022-10-12T05:08:40.627" v="1278"/>
          <ac:spMkLst>
            <pc:docMk/>
            <pc:sldMk cId="1405847947" sldId="2367"/>
            <ac:spMk id="5" creationId="{6086EA7B-E5AE-D74F-EF50-2DD8F2F44ED4}"/>
          </ac:spMkLst>
        </pc:spChg>
        <pc:spChg chg="add mod">
          <ac:chgData name="Aurelien Domont" userId="6da7715ce44349b3" providerId="LiveId" clId="{8A0023AE-969A-4547-AF3A-B7A2EFB890D6}" dt="2022-10-12T05:08:40.627" v="1278"/>
          <ac:spMkLst>
            <pc:docMk/>
            <pc:sldMk cId="1405847947" sldId="2367"/>
            <ac:spMk id="6" creationId="{615C46F3-054E-5E24-96C2-5A7E0A7D591E}"/>
          </ac:spMkLst>
        </pc:spChg>
        <pc:spChg chg="add mod">
          <ac:chgData name="Aurelien Domont" userId="6da7715ce44349b3" providerId="LiveId" clId="{8A0023AE-969A-4547-AF3A-B7A2EFB890D6}" dt="2022-10-12T05:08:40.627" v="1278"/>
          <ac:spMkLst>
            <pc:docMk/>
            <pc:sldMk cId="1405847947" sldId="2367"/>
            <ac:spMk id="8" creationId="{5D11B6A0-0828-22A0-70AA-E5211FF06B84}"/>
          </ac:spMkLst>
        </pc:spChg>
        <pc:spChg chg="add mod">
          <ac:chgData name="Aurelien Domont" userId="6da7715ce44349b3" providerId="LiveId" clId="{8A0023AE-969A-4547-AF3A-B7A2EFB890D6}" dt="2022-10-12T22:33:06.437" v="1392"/>
          <ac:spMkLst>
            <pc:docMk/>
            <pc:sldMk cId="1405847947" sldId="2367"/>
            <ac:spMk id="9" creationId="{BB310480-78CB-ED41-A625-FAA71B96035D}"/>
          </ac:spMkLst>
        </pc:spChg>
        <pc:spChg chg="add mod">
          <ac:chgData name="Aurelien Domont" userId="6da7715ce44349b3" providerId="LiveId" clId="{8A0023AE-969A-4547-AF3A-B7A2EFB890D6}" dt="2022-10-12T05:08:40.627" v="1278"/>
          <ac:spMkLst>
            <pc:docMk/>
            <pc:sldMk cId="1405847947" sldId="2367"/>
            <ac:spMk id="10" creationId="{DD389BEF-ED5E-C089-1198-2A36FC7083D4}"/>
          </ac:spMkLst>
        </pc:spChg>
        <pc:spChg chg="add mod">
          <ac:chgData name="Aurelien Domont" userId="6da7715ce44349b3" providerId="LiveId" clId="{8A0023AE-969A-4547-AF3A-B7A2EFB890D6}" dt="2022-10-12T05:08:40.627" v="1278"/>
          <ac:spMkLst>
            <pc:docMk/>
            <pc:sldMk cId="1405847947" sldId="2367"/>
            <ac:spMk id="12" creationId="{FC2615E1-C1EE-F458-6BF4-7CB82CB7EAAA}"/>
          </ac:spMkLst>
        </pc:spChg>
        <pc:spChg chg="del">
          <ac:chgData name="Aurelien Domont" userId="6da7715ce44349b3" providerId="LiveId" clId="{8A0023AE-969A-4547-AF3A-B7A2EFB890D6}" dt="2022-10-12T05:08:38.733" v="1276" actId="478"/>
          <ac:spMkLst>
            <pc:docMk/>
            <pc:sldMk cId="1405847947" sldId="2367"/>
            <ac:spMk id="14" creationId="{BA0836D4-9EC0-0BEE-E5D4-7224BFEE1F19}"/>
          </ac:spMkLst>
        </pc:spChg>
        <pc:spChg chg="add mod">
          <ac:chgData name="Aurelien Domont" userId="6da7715ce44349b3" providerId="LiveId" clId="{8A0023AE-969A-4547-AF3A-B7A2EFB890D6}" dt="2022-10-12T05:08:40.627" v="1278"/>
          <ac:spMkLst>
            <pc:docMk/>
            <pc:sldMk cId="1405847947" sldId="2367"/>
            <ac:spMk id="15" creationId="{77D8E629-880F-CD99-4A61-F96F4039889A}"/>
          </ac:spMkLst>
        </pc:spChg>
        <pc:spChg chg="mod">
          <ac:chgData name="Aurelien Domont" userId="6da7715ce44349b3" providerId="LiveId" clId="{8A0023AE-969A-4547-AF3A-B7A2EFB890D6}" dt="2022-10-11T02:04:55.328" v="69" actId="20577"/>
          <ac:spMkLst>
            <pc:docMk/>
            <pc:sldMk cId="1405847947" sldId="2367"/>
            <ac:spMk id="16" creationId="{6C2BB713-9637-4B9B-938F-E9768876782A}"/>
          </ac:spMkLst>
        </pc:spChg>
        <pc:spChg chg="del">
          <ac:chgData name="Aurelien Domont" userId="6da7715ce44349b3" providerId="LiveId" clId="{8A0023AE-969A-4547-AF3A-B7A2EFB890D6}" dt="2022-10-12T05:08:38.733" v="1276" actId="478"/>
          <ac:spMkLst>
            <pc:docMk/>
            <pc:sldMk cId="1405847947" sldId="2367"/>
            <ac:spMk id="17" creationId="{BF8DF2D5-FAC9-0EF7-919A-45C56690F72C}"/>
          </ac:spMkLst>
        </pc:spChg>
        <pc:spChg chg="del">
          <ac:chgData name="Aurelien Domont" userId="6da7715ce44349b3" providerId="LiveId" clId="{8A0023AE-969A-4547-AF3A-B7A2EFB890D6}" dt="2022-10-12T05:08:38.733" v="1276" actId="478"/>
          <ac:spMkLst>
            <pc:docMk/>
            <pc:sldMk cId="1405847947" sldId="2367"/>
            <ac:spMk id="18" creationId="{6BF08EED-77A6-CF00-2F73-98F6EF3BEE72}"/>
          </ac:spMkLst>
        </pc:spChg>
        <pc:spChg chg="del">
          <ac:chgData name="Aurelien Domont" userId="6da7715ce44349b3" providerId="LiveId" clId="{8A0023AE-969A-4547-AF3A-B7A2EFB890D6}" dt="2022-10-12T05:08:38.733" v="1276" actId="478"/>
          <ac:spMkLst>
            <pc:docMk/>
            <pc:sldMk cId="1405847947" sldId="2367"/>
            <ac:spMk id="20" creationId="{952D49D9-56E5-D339-6DBA-03CA88F75A3A}"/>
          </ac:spMkLst>
        </pc:spChg>
        <pc:spChg chg="del">
          <ac:chgData name="Aurelien Domont" userId="6da7715ce44349b3" providerId="LiveId" clId="{8A0023AE-969A-4547-AF3A-B7A2EFB890D6}" dt="2022-10-12T05:08:38.733" v="1276" actId="478"/>
          <ac:spMkLst>
            <pc:docMk/>
            <pc:sldMk cId="1405847947" sldId="2367"/>
            <ac:spMk id="21" creationId="{DA75DA55-C6A2-BB90-7808-0B4CE8449A30}"/>
          </ac:spMkLst>
        </pc:spChg>
        <pc:spChg chg="del">
          <ac:chgData name="Aurelien Domont" userId="6da7715ce44349b3" providerId="LiveId" clId="{8A0023AE-969A-4547-AF3A-B7A2EFB890D6}" dt="2022-10-12T05:08:38.733" v="1276" actId="478"/>
          <ac:spMkLst>
            <pc:docMk/>
            <pc:sldMk cId="1405847947" sldId="2367"/>
            <ac:spMk id="22" creationId="{660BF66F-63F0-1C73-C875-AE89CCA3BEBE}"/>
          </ac:spMkLst>
        </pc:spChg>
        <pc:spChg chg="del">
          <ac:chgData name="Aurelien Domont" userId="6da7715ce44349b3" providerId="LiveId" clId="{8A0023AE-969A-4547-AF3A-B7A2EFB890D6}" dt="2022-10-12T05:08:38.733" v="1276" actId="478"/>
          <ac:spMkLst>
            <pc:docMk/>
            <pc:sldMk cId="1405847947" sldId="2367"/>
            <ac:spMk id="24" creationId="{C1C6A3E7-8860-5C32-81DF-E026D94E6B68}"/>
          </ac:spMkLst>
        </pc:spChg>
        <pc:spChg chg="del">
          <ac:chgData name="Aurelien Domont" userId="6da7715ce44349b3" providerId="LiveId" clId="{8A0023AE-969A-4547-AF3A-B7A2EFB890D6}" dt="2022-10-12T05:08:38.733" v="1276" actId="478"/>
          <ac:spMkLst>
            <pc:docMk/>
            <pc:sldMk cId="1405847947" sldId="2367"/>
            <ac:spMk id="25" creationId="{6DF5D98D-5B3F-0047-173C-FEFB72EA3A98}"/>
          </ac:spMkLst>
        </pc:spChg>
        <pc:picChg chg="del">
          <ac:chgData name="Aurelien Domont" userId="6da7715ce44349b3" providerId="LiveId" clId="{8A0023AE-969A-4547-AF3A-B7A2EFB890D6}" dt="2022-10-12T05:08:38.733" v="1276" actId="478"/>
          <ac:picMkLst>
            <pc:docMk/>
            <pc:sldMk cId="1405847947" sldId="2367"/>
            <ac:picMk id="27" creationId="{0C1AED21-98D0-004E-9F14-C727FFA842D5}"/>
          </ac:picMkLst>
        </pc:picChg>
        <pc:picChg chg="del">
          <ac:chgData name="Aurelien Domont" userId="6da7715ce44349b3" providerId="LiveId" clId="{8A0023AE-969A-4547-AF3A-B7A2EFB890D6}" dt="2022-10-12T05:08:38.733" v="1276" actId="478"/>
          <ac:picMkLst>
            <pc:docMk/>
            <pc:sldMk cId="1405847947" sldId="2367"/>
            <ac:picMk id="28" creationId="{79EB2BC3-755C-0CFA-FE65-4AE4A6D42BC4}"/>
          </ac:picMkLst>
        </pc:picChg>
        <pc:picChg chg="del">
          <ac:chgData name="Aurelien Domont" userId="6da7715ce44349b3" providerId="LiveId" clId="{8A0023AE-969A-4547-AF3A-B7A2EFB890D6}" dt="2022-10-12T05:08:38.733" v="1276" actId="478"/>
          <ac:picMkLst>
            <pc:docMk/>
            <pc:sldMk cId="1405847947" sldId="2367"/>
            <ac:picMk id="29" creationId="{FDA05F75-D04A-88D9-DB80-E934F76647D5}"/>
          </ac:picMkLst>
        </pc:picChg>
        <pc:picChg chg="del">
          <ac:chgData name="Aurelien Domont" userId="6da7715ce44349b3" providerId="LiveId" clId="{8A0023AE-969A-4547-AF3A-B7A2EFB890D6}" dt="2022-10-12T05:08:38.733" v="1276" actId="478"/>
          <ac:picMkLst>
            <pc:docMk/>
            <pc:sldMk cId="1405847947" sldId="2367"/>
            <ac:picMk id="30" creationId="{1404A518-5257-C1EB-16F6-A4BD17093886}"/>
          </ac:picMkLst>
        </pc:picChg>
        <pc:picChg chg="add mod">
          <ac:chgData name="Aurelien Domont" userId="6da7715ce44349b3" providerId="LiveId" clId="{8A0023AE-969A-4547-AF3A-B7A2EFB890D6}" dt="2022-10-12T05:08:40.627" v="1278"/>
          <ac:picMkLst>
            <pc:docMk/>
            <pc:sldMk cId="1405847947" sldId="2367"/>
            <ac:picMk id="32" creationId="{19872E7F-3453-1340-D743-71DFE8E76781}"/>
          </ac:picMkLst>
        </pc:picChg>
        <pc:picChg chg="add mod">
          <ac:chgData name="Aurelien Domont" userId="6da7715ce44349b3" providerId="LiveId" clId="{8A0023AE-969A-4547-AF3A-B7A2EFB890D6}" dt="2022-10-12T05:08:40.627" v="1278"/>
          <ac:picMkLst>
            <pc:docMk/>
            <pc:sldMk cId="1405847947" sldId="2367"/>
            <ac:picMk id="33" creationId="{81FE4714-8A2D-102D-5FDC-CA3AD14778A6}"/>
          </ac:picMkLst>
        </pc:picChg>
        <pc:picChg chg="add mod">
          <ac:chgData name="Aurelien Domont" userId="6da7715ce44349b3" providerId="LiveId" clId="{8A0023AE-969A-4547-AF3A-B7A2EFB890D6}" dt="2022-10-12T05:08:40.627" v="1278"/>
          <ac:picMkLst>
            <pc:docMk/>
            <pc:sldMk cId="1405847947" sldId="2367"/>
            <ac:picMk id="34" creationId="{91704DEF-CDCD-61D0-E2DE-2427CAB5BD18}"/>
          </ac:picMkLst>
        </pc:picChg>
        <pc:picChg chg="add mod">
          <ac:chgData name="Aurelien Domont" userId="6da7715ce44349b3" providerId="LiveId" clId="{8A0023AE-969A-4547-AF3A-B7A2EFB890D6}" dt="2022-10-12T05:08:40.627" v="1278"/>
          <ac:picMkLst>
            <pc:docMk/>
            <pc:sldMk cId="1405847947" sldId="2367"/>
            <ac:picMk id="35" creationId="{5649834C-DF28-F089-CDBB-F049F118734B}"/>
          </ac:picMkLst>
        </pc:picChg>
        <pc:cxnChg chg="add mod">
          <ac:chgData name="Aurelien Domont" userId="6da7715ce44349b3" providerId="LiveId" clId="{8A0023AE-969A-4547-AF3A-B7A2EFB890D6}" dt="2022-10-12T05:08:40.627" v="1278"/>
          <ac:cxnSpMkLst>
            <pc:docMk/>
            <pc:sldMk cId="1405847947" sldId="2367"/>
            <ac:cxnSpMk id="7" creationId="{6C69C5D6-CA54-78C0-2CE3-A04A31F7044F}"/>
          </ac:cxnSpMkLst>
        </pc:cxnChg>
        <pc:cxnChg chg="add mod">
          <ac:chgData name="Aurelien Domont" userId="6da7715ce44349b3" providerId="LiveId" clId="{8A0023AE-969A-4547-AF3A-B7A2EFB890D6}" dt="2022-10-12T05:08:58.407" v="1283" actId="1036"/>
          <ac:cxnSpMkLst>
            <pc:docMk/>
            <pc:sldMk cId="1405847947" sldId="2367"/>
            <ac:cxnSpMk id="11" creationId="{74BD7051-6E86-EA80-4C36-F5D2B3A3E6DF}"/>
          </ac:cxnSpMkLst>
        </pc:cxnChg>
        <pc:cxnChg chg="del">
          <ac:chgData name="Aurelien Domont" userId="6da7715ce44349b3" providerId="LiveId" clId="{8A0023AE-969A-4547-AF3A-B7A2EFB890D6}" dt="2022-10-12T05:08:38.733" v="1276" actId="478"/>
          <ac:cxnSpMkLst>
            <pc:docMk/>
            <pc:sldMk cId="1405847947" sldId="2367"/>
            <ac:cxnSpMk id="19" creationId="{E11FA181-5ED7-027E-D99F-5EA9352A5D9B}"/>
          </ac:cxnSpMkLst>
        </pc:cxnChg>
        <pc:cxnChg chg="del">
          <ac:chgData name="Aurelien Domont" userId="6da7715ce44349b3" providerId="LiveId" clId="{8A0023AE-969A-4547-AF3A-B7A2EFB890D6}" dt="2022-10-12T05:08:38.733" v="1276" actId="478"/>
          <ac:cxnSpMkLst>
            <pc:docMk/>
            <pc:sldMk cId="1405847947" sldId="2367"/>
            <ac:cxnSpMk id="23" creationId="{EEEBAE7A-4209-A49D-9AA0-B91A9112D8F9}"/>
          </ac:cxnSpMkLst>
        </pc:cxnChg>
        <pc:cxnChg chg="del">
          <ac:chgData name="Aurelien Domont" userId="6da7715ce44349b3" providerId="LiveId" clId="{8A0023AE-969A-4547-AF3A-B7A2EFB890D6}" dt="2022-10-12T05:08:38.733" v="1276" actId="478"/>
          <ac:cxnSpMkLst>
            <pc:docMk/>
            <pc:sldMk cId="1405847947" sldId="2367"/>
            <ac:cxnSpMk id="26" creationId="{94D6EEF1-104C-C621-E8D1-F14BE3D24505}"/>
          </ac:cxnSpMkLst>
        </pc:cxnChg>
        <pc:cxnChg chg="add mod">
          <ac:chgData name="Aurelien Domont" userId="6da7715ce44349b3" providerId="LiveId" clId="{8A0023AE-969A-4547-AF3A-B7A2EFB890D6}" dt="2022-10-12T05:08:40.627" v="1278"/>
          <ac:cxnSpMkLst>
            <pc:docMk/>
            <pc:sldMk cId="1405847947" sldId="2367"/>
            <ac:cxnSpMk id="31" creationId="{5E6692AC-7D62-318E-2686-971C918A7778}"/>
          </ac:cxnSpMkLst>
        </pc:cxnChg>
      </pc:sldChg>
      <pc:sldChg chg="addSp modSp add mod">
        <pc:chgData name="Aurelien Domont" userId="6da7715ce44349b3" providerId="LiveId" clId="{8A0023AE-969A-4547-AF3A-B7A2EFB890D6}" dt="2022-10-11T02:09:33.504" v="122"/>
        <pc:sldMkLst>
          <pc:docMk/>
          <pc:sldMk cId="1354432404" sldId="2368"/>
        </pc:sldMkLst>
        <pc:spChg chg="add mod">
          <ac:chgData name="Aurelien Domont" userId="6da7715ce44349b3" providerId="LiveId" clId="{8A0023AE-969A-4547-AF3A-B7A2EFB890D6}" dt="2022-10-11T02:05:55.458" v="85" actId="20577"/>
          <ac:spMkLst>
            <pc:docMk/>
            <pc:sldMk cId="1354432404" sldId="2368"/>
            <ac:spMk id="3" creationId="{8C999500-F2F9-81DA-988D-6FDA633EBCB5}"/>
          </ac:spMkLst>
        </pc:spChg>
        <pc:spChg chg="mod">
          <ac:chgData name="Aurelien Domont" userId="6da7715ce44349b3" providerId="LiveId" clId="{8A0023AE-969A-4547-AF3A-B7A2EFB890D6}" dt="2022-10-11T02:08:03.976" v="109" actId="14100"/>
          <ac:spMkLst>
            <pc:docMk/>
            <pc:sldMk cId="1354432404" sldId="2368"/>
            <ac:spMk id="19" creationId="{C99F7AB7-E430-4AD6-B5CF-3C350EA8CD45}"/>
          </ac:spMkLst>
        </pc:spChg>
        <pc:spChg chg="mod">
          <ac:chgData name="Aurelien Domont" userId="6da7715ce44349b3" providerId="LiveId" clId="{8A0023AE-969A-4547-AF3A-B7A2EFB890D6}" dt="2022-10-11T02:09:33.504" v="122"/>
          <ac:spMkLst>
            <pc:docMk/>
            <pc:sldMk cId="1354432404" sldId="2368"/>
            <ac:spMk id="20" creationId="{1EC8FE9F-12FA-4A2A-A85F-E4BB88206FFA}"/>
          </ac:spMkLst>
        </pc:spChg>
        <pc:spChg chg="mod">
          <ac:chgData name="Aurelien Domont" userId="6da7715ce44349b3" providerId="LiveId" clId="{8A0023AE-969A-4547-AF3A-B7A2EFB890D6}" dt="2022-10-11T02:08:14.158" v="113" actId="1076"/>
          <ac:spMkLst>
            <pc:docMk/>
            <pc:sldMk cId="1354432404" sldId="2368"/>
            <ac:spMk id="21" creationId="{30572570-EA5B-4A2C-8F7C-73E52D7DC126}"/>
          </ac:spMkLst>
        </pc:spChg>
        <pc:spChg chg="mod">
          <ac:chgData name="Aurelien Domont" userId="6da7715ce44349b3" providerId="LiveId" clId="{8A0023AE-969A-4547-AF3A-B7A2EFB890D6}" dt="2022-10-11T02:09:18.807" v="116"/>
          <ac:spMkLst>
            <pc:docMk/>
            <pc:sldMk cId="1354432404" sldId="2368"/>
            <ac:spMk id="38" creationId="{7276DE6B-C0AB-4711-B17E-CC16A1739507}"/>
          </ac:spMkLst>
        </pc:spChg>
      </pc:sldChg>
      <pc:sldChg chg="addSp modSp add mod">
        <pc:chgData name="Aurelien Domont" userId="6da7715ce44349b3" providerId="LiveId" clId="{8A0023AE-969A-4547-AF3A-B7A2EFB890D6}" dt="2022-10-17T03:00:35.310" v="1615" actId="20577"/>
        <pc:sldMkLst>
          <pc:docMk/>
          <pc:sldMk cId="1235584572" sldId="2369"/>
        </pc:sldMkLst>
        <pc:spChg chg="add mod">
          <ac:chgData name="Aurelien Domont" userId="6da7715ce44349b3" providerId="LiveId" clId="{8A0023AE-969A-4547-AF3A-B7A2EFB890D6}" dt="2022-10-11T02:13:53.488" v="202"/>
          <ac:spMkLst>
            <pc:docMk/>
            <pc:sldMk cId="1235584572" sldId="2369"/>
            <ac:spMk id="2" creationId="{C6EBC88D-007B-FA35-8495-CC5B79955898}"/>
          </ac:spMkLst>
        </pc:spChg>
        <pc:spChg chg="add mod">
          <ac:chgData name="Aurelien Domont" userId="6da7715ce44349b3" providerId="LiveId" clId="{8A0023AE-969A-4547-AF3A-B7A2EFB890D6}" dt="2022-10-11T02:14:14.208" v="210" actId="14100"/>
          <ac:spMkLst>
            <pc:docMk/>
            <pc:sldMk cId="1235584572" sldId="2369"/>
            <ac:spMk id="22" creationId="{CDF9AB01-929F-C259-68C8-2090D7A40074}"/>
          </ac:spMkLst>
        </pc:spChg>
        <pc:spChg chg="mod">
          <ac:chgData name="Aurelien Domont" userId="6da7715ce44349b3" providerId="LiveId" clId="{8A0023AE-969A-4547-AF3A-B7A2EFB890D6}" dt="2022-10-11T02:15:10.358" v="214" actId="20577"/>
          <ac:spMkLst>
            <pc:docMk/>
            <pc:sldMk cId="1235584572" sldId="2369"/>
            <ac:spMk id="24" creationId="{FD932F1F-7DAD-41C0-B64D-07D8F724B9EE}"/>
          </ac:spMkLst>
        </pc:spChg>
        <pc:spChg chg="mod">
          <ac:chgData name="Aurelien Domont" userId="6da7715ce44349b3" providerId="LiveId" clId="{8A0023AE-969A-4547-AF3A-B7A2EFB890D6}" dt="2022-10-11T02:14:01.616" v="206" actId="14100"/>
          <ac:spMkLst>
            <pc:docMk/>
            <pc:sldMk cId="1235584572" sldId="2369"/>
            <ac:spMk id="27" creationId="{572F62B1-A60B-43C1-989B-9C3AED24ADFD}"/>
          </ac:spMkLst>
        </pc:spChg>
        <pc:spChg chg="add mod">
          <ac:chgData name="Aurelien Domont" userId="6da7715ce44349b3" providerId="LiveId" clId="{8A0023AE-969A-4547-AF3A-B7A2EFB890D6}" dt="2022-10-17T03:00:35.310" v="1615" actId="20577"/>
          <ac:spMkLst>
            <pc:docMk/>
            <pc:sldMk cId="1235584572" sldId="2369"/>
            <ac:spMk id="28" creationId="{A5F69CBD-86FC-9D30-4FC2-6A53BF834CF8}"/>
          </ac:spMkLst>
        </pc:spChg>
      </pc:sldChg>
      <pc:sldChg chg="addSp modSp new del mod ord">
        <pc:chgData name="Aurelien Domont" userId="6da7715ce44349b3" providerId="LiveId" clId="{8A0023AE-969A-4547-AF3A-B7A2EFB890D6}" dt="2022-10-12T05:10:29.841" v="1389" actId="47"/>
        <pc:sldMkLst>
          <pc:docMk/>
          <pc:sldMk cId="121636944" sldId="2370"/>
        </pc:sldMkLst>
        <pc:spChg chg="add mod">
          <ac:chgData name="Aurelien Domont" userId="6da7715ce44349b3" providerId="LiveId" clId="{8A0023AE-969A-4547-AF3A-B7A2EFB890D6}" dt="2022-10-11T02:18:03.385" v="219" actId="207"/>
          <ac:spMkLst>
            <pc:docMk/>
            <pc:sldMk cId="121636944" sldId="2370"/>
            <ac:spMk id="3" creationId="{09457D08-562E-3231-4B2E-A9C508B2F10F}"/>
          </ac:spMkLst>
        </pc:spChg>
      </pc:sldChg>
      <pc:sldChg chg="add del">
        <pc:chgData name="Aurelien Domont" userId="6da7715ce44349b3" providerId="LiveId" clId="{8A0023AE-969A-4547-AF3A-B7A2EFB890D6}" dt="2022-10-11T02:13:38.446" v="200"/>
        <pc:sldMkLst>
          <pc:docMk/>
          <pc:sldMk cId="4008452959" sldId="2370"/>
        </pc:sldMkLst>
      </pc:sldChg>
      <pc:sldChg chg="addSp modSp add del mod">
        <pc:chgData name="Aurelien Domont" userId="6da7715ce44349b3" providerId="LiveId" clId="{8A0023AE-969A-4547-AF3A-B7A2EFB890D6}" dt="2022-10-11T02:41:13.675" v="519" actId="47"/>
        <pc:sldMkLst>
          <pc:docMk/>
          <pc:sldMk cId="1857122109" sldId="2371"/>
        </pc:sldMkLst>
        <pc:spChg chg="add mod">
          <ac:chgData name="Aurelien Domont" userId="6da7715ce44349b3" providerId="LiveId" clId="{8A0023AE-969A-4547-AF3A-B7A2EFB890D6}" dt="2022-10-11T02:28:23.478" v="280" actId="20577"/>
          <ac:spMkLst>
            <pc:docMk/>
            <pc:sldMk cId="1857122109" sldId="2371"/>
            <ac:spMk id="2" creationId="{AFF96C4C-9A8D-6215-DB2F-EC430B672500}"/>
          </ac:spMkLst>
        </pc:spChg>
        <pc:spChg chg="mod">
          <ac:chgData name="Aurelien Domont" userId="6da7715ce44349b3" providerId="LiveId" clId="{8A0023AE-969A-4547-AF3A-B7A2EFB890D6}" dt="2022-10-11T02:28:42.272" v="295" actId="20577"/>
          <ac:spMkLst>
            <pc:docMk/>
            <pc:sldMk cId="1857122109" sldId="2371"/>
            <ac:spMk id="42" creationId="{779F7DA0-AEB6-4446-9027-3404B6F1BD64}"/>
          </ac:spMkLst>
        </pc:spChg>
        <pc:spChg chg="mod">
          <ac:chgData name="Aurelien Domont" userId="6da7715ce44349b3" providerId="LiveId" clId="{8A0023AE-969A-4547-AF3A-B7A2EFB890D6}" dt="2022-10-11T02:29:25.682" v="302" actId="21"/>
          <ac:spMkLst>
            <pc:docMk/>
            <pc:sldMk cId="1857122109" sldId="2371"/>
            <ac:spMk id="43" creationId="{25390214-CD2D-4840-975F-066CC0BF750B}"/>
          </ac:spMkLst>
        </pc:spChg>
        <pc:spChg chg="mod">
          <ac:chgData name="Aurelien Domont" userId="6da7715ce44349b3" providerId="LiveId" clId="{8A0023AE-969A-4547-AF3A-B7A2EFB890D6}" dt="2022-10-11T02:29:27.247" v="303"/>
          <ac:spMkLst>
            <pc:docMk/>
            <pc:sldMk cId="1857122109" sldId="2371"/>
            <ac:spMk id="44" creationId="{0E043592-3CE7-4C3F-BC0C-A34049C07C01}"/>
          </ac:spMkLst>
        </pc:spChg>
        <pc:spChg chg="mod">
          <ac:chgData name="Aurelien Domont" userId="6da7715ce44349b3" providerId="LiveId" clId="{8A0023AE-969A-4547-AF3A-B7A2EFB890D6}" dt="2022-10-11T02:28:30.249" v="282" actId="20577"/>
          <ac:spMkLst>
            <pc:docMk/>
            <pc:sldMk cId="1857122109" sldId="2371"/>
            <ac:spMk id="45" creationId="{8E6E9514-4AB3-4B3A-BBF4-2758C2C5D73C}"/>
          </ac:spMkLst>
        </pc:spChg>
        <pc:spChg chg="mod">
          <ac:chgData name="Aurelien Domont" userId="6da7715ce44349b3" providerId="LiveId" clId="{8A0023AE-969A-4547-AF3A-B7A2EFB890D6}" dt="2022-10-11T02:28:39.293" v="294" actId="20577"/>
          <ac:spMkLst>
            <pc:docMk/>
            <pc:sldMk cId="1857122109" sldId="2371"/>
            <ac:spMk id="46" creationId="{F0965775-4105-4BBB-A5AB-FD70FE2711B7}"/>
          </ac:spMkLst>
        </pc:spChg>
      </pc:sldChg>
      <pc:sldChg chg="addSp modSp add del mod">
        <pc:chgData name="Aurelien Domont" userId="6da7715ce44349b3" providerId="LiveId" clId="{8A0023AE-969A-4547-AF3A-B7A2EFB890D6}" dt="2022-10-11T02:39:21.953" v="507" actId="47"/>
        <pc:sldMkLst>
          <pc:docMk/>
          <pc:sldMk cId="281466257" sldId="2372"/>
        </pc:sldMkLst>
        <pc:spChg chg="add mod">
          <ac:chgData name="Aurelien Domont" userId="6da7715ce44349b3" providerId="LiveId" clId="{8A0023AE-969A-4547-AF3A-B7A2EFB890D6}" dt="2022-10-11T02:36:35.396" v="416" actId="20577"/>
          <ac:spMkLst>
            <pc:docMk/>
            <pc:sldMk cId="281466257" sldId="2372"/>
            <ac:spMk id="2" creationId="{30EFE912-F267-0340-5E00-92A2D2D1B2EC}"/>
          </ac:spMkLst>
        </pc:spChg>
        <pc:spChg chg="add mod">
          <ac:chgData name="Aurelien Domont" userId="6da7715ce44349b3" providerId="LiveId" clId="{8A0023AE-969A-4547-AF3A-B7A2EFB890D6}" dt="2022-10-11T02:37:02.940" v="422" actId="14100"/>
          <ac:spMkLst>
            <pc:docMk/>
            <pc:sldMk cId="281466257" sldId="2372"/>
            <ac:spMk id="4" creationId="{B662D39B-3FF6-8C71-F13A-2FFF006C0E02}"/>
          </ac:spMkLst>
        </pc:spChg>
        <pc:spChg chg="add mod">
          <ac:chgData name="Aurelien Domont" userId="6da7715ce44349b3" providerId="LiveId" clId="{8A0023AE-969A-4547-AF3A-B7A2EFB890D6}" dt="2022-10-11T02:36:53.958" v="420" actId="208"/>
          <ac:spMkLst>
            <pc:docMk/>
            <pc:sldMk cId="281466257" sldId="2372"/>
            <ac:spMk id="5" creationId="{7D9C2EBB-91F6-0CBA-F93D-4584226CBB63}"/>
          </ac:spMkLst>
        </pc:spChg>
        <pc:spChg chg="add mod">
          <ac:chgData name="Aurelien Domont" userId="6da7715ce44349b3" providerId="LiveId" clId="{8A0023AE-969A-4547-AF3A-B7A2EFB890D6}" dt="2022-10-11T02:36:53.958" v="420" actId="208"/>
          <ac:spMkLst>
            <pc:docMk/>
            <pc:sldMk cId="281466257" sldId="2372"/>
            <ac:spMk id="6" creationId="{F2247F69-8DEC-3FAC-C613-FBB8B146389A}"/>
          </ac:spMkLst>
        </pc:spChg>
        <pc:spChg chg="add mod">
          <ac:chgData name="Aurelien Domont" userId="6da7715ce44349b3" providerId="LiveId" clId="{8A0023AE-969A-4547-AF3A-B7A2EFB890D6}" dt="2022-10-11T02:37:17.181" v="426" actId="1076"/>
          <ac:spMkLst>
            <pc:docMk/>
            <pc:sldMk cId="281466257" sldId="2372"/>
            <ac:spMk id="7" creationId="{7D2936FD-A9CF-208E-E67C-152F5E8AF0F0}"/>
          </ac:spMkLst>
        </pc:spChg>
      </pc:sldChg>
      <pc:sldChg chg="addSp delSp modSp add mod">
        <pc:chgData name="Aurelien Domont" userId="6da7715ce44349b3" providerId="LiveId" clId="{8A0023AE-969A-4547-AF3A-B7A2EFB890D6}" dt="2022-10-11T02:40:09.696" v="515" actId="1076"/>
        <pc:sldMkLst>
          <pc:docMk/>
          <pc:sldMk cId="3907361125" sldId="2373"/>
        </pc:sldMkLst>
        <pc:spChg chg="add mod">
          <ac:chgData name="Aurelien Domont" userId="6da7715ce44349b3" providerId="LiveId" clId="{8A0023AE-969A-4547-AF3A-B7A2EFB890D6}" dt="2022-10-11T02:38:06.785" v="492"/>
          <ac:spMkLst>
            <pc:docMk/>
            <pc:sldMk cId="3907361125" sldId="2373"/>
            <ac:spMk id="8" creationId="{76E214A3-D1AD-390E-13C1-AF627ABAEA0B}"/>
          </ac:spMkLst>
        </pc:spChg>
        <pc:spChg chg="add mod">
          <ac:chgData name="Aurelien Domont" userId="6da7715ce44349b3" providerId="LiveId" clId="{8A0023AE-969A-4547-AF3A-B7A2EFB890D6}" dt="2022-10-11T02:40:06.474" v="514" actId="20577"/>
          <ac:spMkLst>
            <pc:docMk/>
            <pc:sldMk cId="3907361125" sldId="2373"/>
            <ac:spMk id="9" creationId="{97497F5D-82C5-506A-1BAC-3D9843377128}"/>
          </ac:spMkLst>
        </pc:spChg>
        <pc:spChg chg="add mod">
          <ac:chgData name="Aurelien Domont" userId="6da7715ce44349b3" providerId="LiveId" clId="{8A0023AE-969A-4547-AF3A-B7A2EFB890D6}" dt="2022-10-11T02:40:01.686" v="509" actId="20577"/>
          <ac:spMkLst>
            <pc:docMk/>
            <pc:sldMk cId="3907361125" sldId="2373"/>
            <ac:spMk id="10" creationId="{91A1F306-1A41-C553-AFCA-8FAE4B2C4C27}"/>
          </ac:spMkLst>
        </pc:spChg>
        <pc:spChg chg="add mod">
          <ac:chgData name="Aurelien Domont" userId="6da7715ce44349b3" providerId="LiveId" clId="{8A0023AE-969A-4547-AF3A-B7A2EFB890D6}" dt="2022-10-11T02:40:04.467" v="511" actId="20577"/>
          <ac:spMkLst>
            <pc:docMk/>
            <pc:sldMk cId="3907361125" sldId="2373"/>
            <ac:spMk id="11" creationId="{1AC5EF3D-B687-0E0A-0DFF-D3F0BB3D3E31}"/>
          </ac:spMkLst>
        </pc:spChg>
        <pc:spChg chg="del">
          <ac:chgData name="Aurelien Domont" userId="6da7715ce44349b3" providerId="LiveId" clId="{8A0023AE-969A-4547-AF3A-B7A2EFB890D6}" dt="2022-10-11T02:38:01.091" v="491" actId="478"/>
          <ac:spMkLst>
            <pc:docMk/>
            <pc:sldMk cId="3907361125" sldId="2373"/>
            <ac:spMk id="12" creationId="{1D8BE6D5-37CE-49C8-818A-9BED70D3F374}"/>
          </ac:spMkLst>
        </pc:spChg>
        <pc:spChg chg="mod">
          <ac:chgData name="Aurelien Domont" userId="6da7715ce44349b3" providerId="LiveId" clId="{8A0023AE-969A-4547-AF3A-B7A2EFB890D6}" dt="2022-10-11T02:37:58.736" v="490" actId="20577"/>
          <ac:spMkLst>
            <pc:docMk/>
            <pc:sldMk cId="3907361125" sldId="2373"/>
            <ac:spMk id="16" creationId="{6C2BB713-9637-4B9B-938F-E9768876782A}"/>
          </ac:spMkLst>
        </pc:spChg>
        <pc:spChg chg="add mod">
          <ac:chgData name="Aurelien Domont" userId="6da7715ce44349b3" providerId="LiveId" clId="{8A0023AE-969A-4547-AF3A-B7A2EFB890D6}" dt="2022-10-11T02:40:02.966" v="510" actId="20577"/>
          <ac:spMkLst>
            <pc:docMk/>
            <pc:sldMk cId="3907361125" sldId="2373"/>
            <ac:spMk id="18" creationId="{CB84C04F-6C27-97A0-9D25-D697B2162A76}"/>
          </ac:spMkLst>
        </pc:spChg>
        <pc:spChg chg="add mod">
          <ac:chgData name="Aurelien Domont" userId="6da7715ce44349b3" providerId="LiveId" clId="{8A0023AE-969A-4547-AF3A-B7A2EFB890D6}" dt="2022-10-11T02:39:59.938" v="508" actId="20577"/>
          <ac:spMkLst>
            <pc:docMk/>
            <pc:sldMk cId="3907361125" sldId="2373"/>
            <ac:spMk id="19" creationId="{53F8D0F0-2973-F53D-7519-603F5D48E16C}"/>
          </ac:spMkLst>
        </pc:spChg>
        <pc:spChg chg="add del mod">
          <ac:chgData name="Aurelien Domont" userId="6da7715ce44349b3" providerId="LiveId" clId="{8A0023AE-969A-4547-AF3A-B7A2EFB890D6}" dt="2022-10-11T02:38:12.831" v="493" actId="478"/>
          <ac:spMkLst>
            <pc:docMk/>
            <pc:sldMk cId="3907361125" sldId="2373"/>
            <ac:spMk id="20" creationId="{34B44E33-6E6B-7137-52B7-4D9EEC00D719}"/>
          </ac:spMkLst>
        </pc:spChg>
        <pc:spChg chg="add del mod">
          <ac:chgData name="Aurelien Domont" userId="6da7715ce44349b3" providerId="LiveId" clId="{8A0023AE-969A-4547-AF3A-B7A2EFB890D6}" dt="2022-10-11T02:38:12.831" v="493" actId="478"/>
          <ac:spMkLst>
            <pc:docMk/>
            <pc:sldMk cId="3907361125" sldId="2373"/>
            <ac:spMk id="21" creationId="{348045BA-2361-8A9D-7A73-75D884E71F70}"/>
          </ac:spMkLst>
        </pc:spChg>
        <pc:spChg chg="add del mod">
          <ac:chgData name="Aurelien Domont" userId="6da7715ce44349b3" providerId="LiveId" clId="{8A0023AE-969A-4547-AF3A-B7A2EFB890D6}" dt="2022-10-11T02:38:12.831" v="493" actId="478"/>
          <ac:spMkLst>
            <pc:docMk/>
            <pc:sldMk cId="3907361125" sldId="2373"/>
            <ac:spMk id="22" creationId="{68CB1052-46F8-BFFD-C5E5-E9D2E0E5B425}"/>
          </ac:spMkLst>
        </pc:spChg>
        <pc:spChg chg="add del mod">
          <ac:chgData name="Aurelien Domont" userId="6da7715ce44349b3" providerId="LiveId" clId="{8A0023AE-969A-4547-AF3A-B7A2EFB890D6}" dt="2022-10-11T02:38:12.831" v="493" actId="478"/>
          <ac:spMkLst>
            <pc:docMk/>
            <pc:sldMk cId="3907361125" sldId="2373"/>
            <ac:spMk id="23" creationId="{5EA7588D-4F9D-2FC1-EF13-ED8CA6228D60}"/>
          </ac:spMkLst>
        </pc:spChg>
        <pc:spChg chg="add del mod">
          <ac:chgData name="Aurelien Domont" userId="6da7715ce44349b3" providerId="LiveId" clId="{8A0023AE-969A-4547-AF3A-B7A2EFB890D6}" dt="2022-10-11T02:38:12.831" v="493" actId="478"/>
          <ac:spMkLst>
            <pc:docMk/>
            <pc:sldMk cId="3907361125" sldId="2373"/>
            <ac:spMk id="24" creationId="{EFBE6E19-B263-C8F9-D577-A56E45CCEF2E}"/>
          </ac:spMkLst>
        </pc:spChg>
        <pc:spChg chg="add del mod">
          <ac:chgData name="Aurelien Domont" userId="6da7715ce44349b3" providerId="LiveId" clId="{8A0023AE-969A-4547-AF3A-B7A2EFB890D6}" dt="2022-10-11T02:38:17.846" v="494" actId="478"/>
          <ac:spMkLst>
            <pc:docMk/>
            <pc:sldMk cId="3907361125" sldId="2373"/>
            <ac:spMk id="25" creationId="{F01DEB73-7DBB-E3E8-2939-68F071171A40}"/>
          </ac:spMkLst>
        </pc:spChg>
        <pc:spChg chg="add del mod">
          <ac:chgData name="Aurelien Domont" userId="6da7715ce44349b3" providerId="LiveId" clId="{8A0023AE-969A-4547-AF3A-B7A2EFB890D6}" dt="2022-10-11T02:38:17.846" v="494" actId="478"/>
          <ac:spMkLst>
            <pc:docMk/>
            <pc:sldMk cId="3907361125" sldId="2373"/>
            <ac:spMk id="26" creationId="{DE0C33DF-E210-11D9-292C-2BC3735270C1}"/>
          </ac:spMkLst>
        </pc:spChg>
        <pc:spChg chg="add del mod">
          <ac:chgData name="Aurelien Domont" userId="6da7715ce44349b3" providerId="LiveId" clId="{8A0023AE-969A-4547-AF3A-B7A2EFB890D6}" dt="2022-10-11T02:38:17.846" v="494" actId="478"/>
          <ac:spMkLst>
            <pc:docMk/>
            <pc:sldMk cId="3907361125" sldId="2373"/>
            <ac:spMk id="27" creationId="{1D744FF5-D789-F3DF-9B87-EB538A38A5C6}"/>
          </ac:spMkLst>
        </pc:spChg>
        <pc:spChg chg="add del mod">
          <ac:chgData name="Aurelien Domont" userId="6da7715ce44349b3" providerId="LiveId" clId="{8A0023AE-969A-4547-AF3A-B7A2EFB890D6}" dt="2022-10-11T02:38:17.846" v="494" actId="478"/>
          <ac:spMkLst>
            <pc:docMk/>
            <pc:sldMk cId="3907361125" sldId="2373"/>
            <ac:spMk id="28" creationId="{D66D7B3B-EA14-4A87-0BE8-D9AD6A4360AE}"/>
          </ac:spMkLst>
        </pc:spChg>
        <pc:spChg chg="add del mod">
          <ac:chgData name="Aurelien Domont" userId="6da7715ce44349b3" providerId="LiveId" clId="{8A0023AE-969A-4547-AF3A-B7A2EFB890D6}" dt="2022-10-11T02:38:17.846" v="494" actId="478"/>
          <ac:spMkLst>
            <pc:docMk/>
            <pc:sldMk cId="3907361125" sldId="2373"/>
            <ac:spMk id="29" creationId="{A285A0B0-6777-79E5-216C-04E5573F7B24}"/>
          </ac:spMkLst>
        </pc:spChg>
        <pc:spChg chg="add mod">
          <ac:chgData name="Aurelien Domont" userId="6da7715ce44349b3" providerId="LiveId" clId="{8A0023AE-969A-4547-AF3A-B7A2EFB890D6}" dt="2022-10-11T02:38:44.776" v="496" actId="14861"/>
          <ac:spMkLst>
            <pc:docMk/>
            <pc:sldMk cId="3907361125" sldId="2373"/>
            <ac:spMk id="30" creationId="{FFCEAED0-AC64-F857-19EF-F2FA771D693A}"/>
          </ac:spMkLst>
        </pc:spChg>
        <pc:spChg chg="add mod">
          <ac:chgData name="Aurelien Domont" userId="6da7715ce44349b3" providerId="LiveId" clId="{8A0023AE-969A-4547-AF3A-B7A2EFB890D6}" dt="2022-10-11T02:40:09.696" v="515" actId="1076"/>
          <ac:spMkLst>
            <pc:docMk/>
            <pc:sldMk cId="3907361125" sldId="2373"/>
            <ac:spMk id="31" creationId="{94056EBC-D419-1F5F-A2FF-B29E23E783CD}"/>
          </ac:spMkLst>
        </pc:spChg>
        <pc:spChg chg="add mod">
          <ac:chgData name="Aurelien Domont" userId="6da7715ce44349b3" providerId="LiveId" clId="{8A0023AE-969A-4547-AF3A-B7A2EFB890D6}" dt="2022-10-11T02:39:07.855" v="506" actId="14100"/>
          <ac:spMkLst>
            <pc:docMk/>
            <pc:sldMk cId="3907361125" sldId="2373"/>
            <ac:spMk id="32" creationId="{67522F36-95DD-AD2B-BF6B-5107D4918E8B}"/>
          </ac:spMkLst>
        </pc:spChg>
        <pc:spChg chg="add mod">
          <ac:chgData name="Aurelien Domont" userId="6da7715ce44349b3" providerId="LiveId" clId="{8A0023AE-969A-4547-AF3A-B7A2EFB890D6}" dt="2022-10-11T02:38:44.776" v="496" actId="14861"/>
          <ac:spMkLst>
            <pc:docMk/>
            <pc:sldMk cId="3907361125" sldId="2373"/>
            <ac:spMk id="33" creationId="{8C36CBAE-327A-8069-B1ED-DD1FAD0C8547}"/>
          </ac:spMkLst>
        </pc:spChg>
        <pc:grpChg chg="del">
          <ac:chgData name="Aurelien Domont" userId="6da7715ce44349b3" providerId="LiveId" clId="{8A0023AE-969A-4547-AF3A-B7A2EFB890D6}" dt="2022-10-11T02:38:01.091" v="491" actId="478"/>
          <ac:grpSpMkLst>
            <pc:docMk/>
            <pc:sldMk cId="3907361125" sldId="2373"/>
            <ac:grpSpMk id="14" creationId="{9FA7080E-69C2-419E-AFA5-5D97557F77BA}"/>
          </ac:grpSpMkLst>
        </pc:grpChg>
        <pc:picChg chg="add mod">
          <ac:chgData name="Aurelien Domont" userId="6da7715ce44349b3" providerId="LiveId" clId="{8A0023AE-969A-4547-AF3A-B7A2EFB890D6}" dt="2022-10-11T02:38:06.785" v="492"/>
          <ac:picMkLst>
            <pc:docMk/>
            <pc:sldMk cId="3907361125" sldId="2373"/>
            <ac:picMk id="3" creationId="{4D97E682-B703-5E05-62F6-A303CEB1DCB9}"/>
          </ac:picMkLst>
        </pc:picChg>
        <pc:picChg chg="add mod">
          <ac:chgData name="Aurelien Domont" userId="6da7715ce44349b3" providerId="LiveId" clId="{8A0023AE-969A-4547-AF3A-B7A2EFB890D6}" dt="2022-10-11T02:38:06.785" v="492"/>
          <ac:picMkLst>
            <pc:docMk/>
            <pc:sldMk cId="3907361125" sldId="2373"/>
            <ac:picMk id="4" creationId="{880D270A-D54E-7079-122B-CD564000A660}"/>
          </ac:picMkLst>
        </pc:picChg>
        <pc:picChg chg="add mod">
          <ac:chgData name="Aurelien Domont" userId="6da7715ce44349b3" providerId="LiveId" clId="{8A0023AE-969A-4547-AF3A-B7A2EFB890D6}" dt="2022-10-11T02:38:06.785" v="492"/>
          <ac:picMkLst>
            <pc:docMk/>
            <pc:sldMk cId="3907361125" sldId="2373"/>
            <ac:picMk id="5" creationId="{47794857-2A6C-579F-75CB-3F1CAB3A88CB}"/>
          </ac:picMkLst>
        </pc:picChg>
        <pc:picChg chg="add mod">
          <ac:chgData name="Aurelien Domont" userId="6da7715ce44349b3" providerId="LiveId" clId="{8A0023AE-969A-4547-AF3A-B7A2EFB890D6}" dt="2022-10-11T02:38:06.785" v="492"/>
          <ac:picMkLst>
            <pc:docMk/>
            <pc:sldMk cId="3907361125" sldId="2373"/>
            <ac:picMk id="6" creationId="{20C05E79-BA27-FD59-61B9-DCAD8AF44EA9}"/>
          </ac:picMkLst>
        </pc:picChg>
        <pc:picChg chg="add mod">
          <ac:chgData name="Aurelien Domont" userId="6da7715ce44349b3" providerId="LiveId" clId="{8A0023AE-969A-4547-AF3A-B7A2EFB890D6}" dt="2022-10-11T02:38:06.785" v="492"/>
          <ac:picMkLst>
            <pc:docMk/>
            <pc:sldMk cId="3907361125" sldId="2373"/>
            <ac:picMk id="7" creationId="{BAFC30E4-5122-D2AE-E058-72C1DC1F5A99}"/>
          </ac:picMkLst>
        </pc:picChg>
      </pc:sldChg>
      <pc:sldChg chg="addSp delSp modSp add mod">
        <pc:chgData name="Aurelien Domont" userId="6da7715ce44349b3" providerId="LiveId" clId="{8A0023AE-969A-4547-AF3A-B7A2EFB890D6}" dt="2022-10-11T02:41:58.964" v="550"/>
        <pc:sldMkLst>
          <pc:docMk/>
          <pc:sldMk cId="2069923559" sldId="2374"/>
        </pc:sldMkLst>
        <pc:spChg chg="mod">
          <ac:chgData name="Aurelien Domont" userId="6da7715ce44349b3" providerId="LiveId" clId="{8A0023AE-969A-4547-AF3A-B7A2EFB890D6}" dt="2022-10-11T02:41:47.300" v="549" actId="20577"/>
          <ac:spMkLst>
            <pc:docMk/>
            <pc:sldMk cId="2069923559" sldId="2374"/>
            <ac:spMk id="3" creationId="{325B7394-3359-B02D-71EC-39E47CBD442F}"/>
          </ac:spMkLst>
        </pc:spChg>
        <pc:spChg chg="add mod">
          <ac:chgData name="Aurelien Domont" userId="6da7715ce44349b3" providerId="LiveId" clId="{8A0023AE-969A-4547-AF3A-B7A2EFB890D6}" dt="2022-10-11T02:41:58.964" v="550"/>
          <ac:spMkLst>
            <pc:docMk/>
            <pc:sldMk cId="2069923559" sldId="2374"/>
            <ac:spMk id="5" creationId="{818A8A87-0775-0362-6506-9B8126F8D651}"/>
          </ac:spMkLst>
        </pc:spChg>
        <pc:spChg chg="del">
          <ac:chgData name="Aurelien Domont" userId="6da7715ce44349b3" providerId="LiveId" clId="{8A0023AE-969A-4547-AF3A-B7A2EFB890D6}" dt="2022-10-11T02:41:38.612" v="522" actId="478"/>
          <ac:spMkLst>
            <pc:docMk/>
            <pc:sldMk cId="2069923559" sldId="2374"/>
            <ac:spMk id="19" creationId="{91CA474E-15F6-4389-B606-2E55A00FC62A}"/>
          </ac:spMkLst>
        </pc:spChg>
        <pc:spChg chg="del">
          <ac:chgData name="Aurelien Domont" userId="6da7715ce44349b3" providerId="LiveId" clId="{8A0023AE-969A-4547-AF3A-B7A2EFB890D6}" dt="2022-10-11T02:41:38.612" v="522" actId="478"/>
          <ac:spMkLst>
            <pc:docMk/>
            <pc:sldMk cId="2069923559" sldId="2374"/>
            <ac:spMk id="20" creationId="{651E5881-3792-4578-A0CB-C375025AC0E8}"/>
          </ac:spMkLst>
        </pc:spChg>
        <pc:spChg chg="del">
          <ac:chgData name="Aurelien Domont" userId="6da7715ce44349b3" providerId="LiveId" clId="{8A0023AE-969A-4547-AF3A-B7A2EFB890D6}" dt="2022-10-11T02:41:38.612" v="522" actId="478"/>
          <ac:spMkLst>
            <pc:docMk/>
            <pc:sldMk cId="2069923559" sldId="2374"/>
            <ac:spMk id="21" creationId="{C5EC49CC-926C-4B3C-889F-163DA469E84E}"/>
          </ac:spMkLst>
        </pc:spChg>
        <pc:spChg chg="del">
          <ac:chgData name="Aurelien Domont" userId="6da7715ce44349b3" providerId="LiveId" clId="{8A0023AE-969A-4547-AF3A-B7A2EFB890D6}" dt="2022-10-11T02:41:38.612" v="522" actId="478"/>
          <ac:spMkLst>
            <pc:docMk/>
            <pc:sldMk cId="2069923559" sldId="2374"/>
            <ac:spMk id="22" creationId="{C16968E5-B4E3-4E03-A3E9-894E1D42F0AE}"/>
          </ac:spMkLst>
        </pc:spChg>
        <pc:spChg chg="del">
          <ac:chgData name="Aurelien Domont" userId="6da7715ce44349b3" providerId="LiveId" clId="{8A0023AE-969A-4547-AF3A-B7A2EFB890D6}" dt="2022-10-11T02:41:38.612" v="522" actId="478"/>
          <ac:spMkLst>
            <pc:docMk/>
            <pc:sldMk cId="2069923559" sldId="2374"/>
            <ac:spMk id="23" creationId="{804A7274-EEF2-4547-A633-95171EEB600D}"/>
          </ac:spMkLst>
        </pc:spChg>
        <pc:graphicFrameChg chg="add mod">
          <ac:chgData name="Aurelien Domont" userId="6da7715ce44349b3" providerId="LiveId" clId="{8A0023AE-969A-4547-AF3A-B7A2EFB890D6}" dt="2022-10-11T02:41:58.964" v="550"/>
          <ac:graphicFrameMkLst>
            <pc:docMk/>
            <pc:sldMk cId="2069923559" sldId="2374"/>
            <ac:graphicFrameMk id="4" creationId="{8468978C-2447-0281-8457-06E955190213}"/>
          </ac:graphicFrameMkLst>
        </pc:graphicFrameChg>
        <pc:picChg chg="del">
          <ac:chgData name="Aurelien Domont" userId="6da7715ce44349b3" providerId="LiveId" clId="{8A0023AE-969A-4547-AF3A-B7A2EFB890D6}" dt="2022-10-11T02:41:38.612" v="522" actId="478"/>
          <ac:picMkLst>
            <pc:docMk/>
            <pc:sldMk cId="2069923559" sldId="2374"/>
            <ac:picMk id="24" creationId="{D9EF997F-4BBC-4AAA-9680-7934F0BE8E0D}"/>
          </ac:picMkLst>
        </pc:picChg>
        <pc:picChg chg="del">
          <ac:chgData name="Aurelien Domont" userId="6da7715ce44349b3" providerId="LiveId" clId="{8A0023AE-969A-4547-AF3A-B7A2EFB890D6}" dt="2022-10-11T02:41:38.612" v="522" actId="478"/>
          <ac:picMkLst>
            <pc:docMk/>
            <pc:sldMk cId="2069923559" sldId="2374"/>
            <ac:picMk id="25" creationId="{E1EABECA-0F33-484E-ADCF-482808574B84}"/>
          </ac:picMkLst>
        </pc:picChg>
        <pc:picChg chg="del">
          <ac:chgData name="Aurelien Domont" userId="6da7715ce44349b3" providerId="LiveId" clId="{8A0023AE-969A-4547-AF3A-B7A2EFB890D6}" dt="2022-10-11T02:41:38.612" v="522" actId="478"/>
          <ac:picMkLst>
            <pc:docMk/>
            <pc:sldMk cId="2069923559" sldId="2374"/>
            <ac:picMk id="26" creationId="{71FFB81B-97E9-49D4-996F-BA74FEC90E0B}"/>
          </ac:picMkLst>
        </pc:picChg>
        <pc:picChg chg="del">
          <ac:chgData name="Aurelien Domont" userId="6da7715ce44349b3" providerId="LiveId" clId="{8A0023AE-969A-4547-AF3A-B7A2EFB890D6}" dt="2022-10-11T02:41:38.612" v="522" actId="478"/>
          <ac:picMkLst>
            <pc:docMk/>
            <pc:sldMk cId="2069923559" sldId="2374"/>
            <ac:picMk id="40" creationId="{44A24FDE-B821-44AF-8258-FE623D260B9A}"/>
          </ac:picMkLst>
        </pc:picChg>
        <pc:picChg chg="del">
          <ac:chgData name="Aurelien Domont" userId="6da7715ce44349b3" providerId="LiveId" clId="{8A0023AE-969A-4547-AF3A-B7A2EFB890D6}" dt="2022-10-11T02:41:38.612" v="522" actId="478"/>
          <ac:picMkLst>
            <pc:docMk/>
            <pc:sldMk cId="2069923559" sldId="2374"/>
            <ac:picMk id="41" creationId="{7224E4F6-077E-4F68-A8C1-7950AFBE981F}"/>
          </ac:picMkLst>
        </pc:picChg>
      </pc:sldChg>
      <pc:sldChg chg="addSp delSp modSp add mod">
        <pc:chgData name="Aurelien Domont" userId="6da7715ce44349b3" providerId="LiveId" clId="{8A0023AE-969A-4547-AF3A-B7A2EFB890D6}" dt="2022-10-11T02:46:11.026" v="630"/>
        <pc:sldMkLst>
          <pc:docMk/>
          <pc:sldMk cId="1703719684" sldId="2375"/>
        </pc:sldMkLst>
        <pc:spChg chg="del">
          <ac:chgData name="Aurelien Domont" userId="6da7715ce44349b3" providerId="LiveId" clId="{8A0023AE-969A-4547-AF3A-B7A2EFB890D6}" dt="2022-10-11T02:42:13.819" v="553" actId="478"/>
          <ac:spMkLst>
            <pc:docMk/>
            <pc:sldMk cId="1703719684" sldId="2375"/>
            <ac:spMk id="5" creationId="{818A8A87-0775-0362-6506-9B8126F8D651}"/>
          </ac:spMkLst>
        </pc:spChg>
        <pc:spChg chg="add mod">
          <ac:chgData name="Aurelien Domont" userId="6da7715ce44349b3" providerId="LiveId" clId="{8A0023AE-969A-4547-AF3A-B7A2EFB890D6}" dt="2022-10-11T02:44:01.364" v="570" actId="1035"/>
          <ac:spMkLst>
            <pc:docMk/>
            <pc:sldMk cId="1703719684" sldId="2375"/>
            <ac:spMk id="6" creationId="{E2D575C3-B7CB-98B1-4BEA-3111EA206847}"/>
          </ac:spMkLst>
        </pc:spChg>
        <pc:spChg chg="add mod">
          <ac:chgData name="Aurelien Domont" userId="6da7715ce44349b3" providerId="LiveId" clId="{8A0023AE-969A-4547-AF3A-B7A2EFB890D6}" dt="2022-10-11T02:44:01.364" v="570" actId="1035"/>
          <ac:spMkLst>
            <pc:docMk/>
            <pc:sldMk cId="1703719684" sldId="2375"/>
            <ac:spMk id="7" creationId="{6E342EE0-09BD-EA27-AE57-B4918E4B50C5}"/>
          </ac:spMkLst>
        </pc:spChg>
        <pc:spChg chg="add mod">
          <ac:chgData name="Aurelien Domont" userId="6da7715ce44349b3" providerId="LiveId" clId="{8A0023AE-969A-4547-AF3A-B7A2EFB890D6}" dt="2022-10-11T02:44:01.364" v="570" actId="1035"/>
          <ac:spMkLst>
            <pc:docMk/>
            <pc:sldMk cId="1703719684" sldId="2375"/>
            <ac:spMk id="8" creationId="{EB10B409-1664-A7AB-9166-3CFBDA9053B5}"/>
          </ac:spMkLst>
        </pc:spChg>
        <pc:spChg chg="add mod">
          <ac:chgData name="Aurelien Domont" userId="6da7715ce44349b3" providerId="LiveId" clId="{8A0023AE-969A-4547-AF3A-B7A2EFB890D6}" dt="2022-10-11T02:42:32.702" v="554"/>
          <ac:spMkLst>
            <pc:docMk/>
            <pc:sldMk cId="1703719684" sldId="2375"/>
            <ac:spMk id="9" creationId="{08F0480D-DA97-9EE0-D142-B07E7E210CD7}"/>
          </ac:spMkLst>
        </pc:spChg>
        <pc:spChg chg="add mod">
          <ac:chgData name="Aurelien Domont" userId="6da7715ce44349b3" providerId="LiveId" clId="{8A0023AE-969A-4547-AF3A-B7A2EFB890D6}" dt="2022-10-11T02:44:12.484" v="578" actId="242"/>
          <ac:spMkLst>
            <pc:docMk/>
            <pc:sldMk cId="1703719684" sldId="2375"/>
            <ac:spMk id="10" creationId="{EA5E81E0-EA93-C1E7-333C-BC1D877C8F47}"/>
          </ac:spMkLst>
        </pc:spChg>
        <pc:spChg chg="add mod">
          <ac:chgData name="Aurelien Domont" userId="6da7715ce44349b3" providerId="LiveId" clId="{8A0023AE-969A-4547-AF3A-B7A2EFB890D6}" dt="2022-10-11T02:42:32.702" v="554"/>
          <ac:spMkLst>
            <pc:docMk/>
            <pc:sldMk cId="1703719684" sldId="2375"/>
            <ac:spMk id="11" creationId="{DF92F7A5-B8D2-7119-F948-A1FEFBFC7049}"/>
          </ac:spMkLst>
        </pc:spChg>
        <pc:spChg chg="add mod">
          <ac:chgData name="Aurelien Domont" userId="6da7715ce44349b3" providerId="LiveId" clId="{8A0023AE-969A-4547-AF3A-B7A2EFB890D6}" dt="2022-10-11T02:42:32.702" v="554"/>
          <ac:spMkLst>
            <pc:docMk/>
            <pc:sldMk cId="1703719684" sldId="2375"/>
            <ac:spMk id="12" creationId="{15F702D6-B991-5A38-B47C-D4AAB7BC836A}"/>
          </ac:spMkLst>
        </pc:spChg>
        <pc:spChg chg="add mod">
          <ac:chgData name="Aurelien Domont" userId="6da7715ce44349b3" providerId="LiveId" clId="{8A0023AE-969A-4547-AF3A-B7A2EFB890D6}" dt="2022-10-11T02:44:24.774" v="587" actId="20577"/>
          <ac:spMkLst>
            <pc:docMk/>
            <pc:sldMk cId="1703719684" sldId="2375"/>
            <ac:spMk id="14" creationId="{21E45449-8CEC-748C-8C1D-70C0F913E8F1}"/>
          </ac:spMkLst>
        </pc:spChg>
        <pc:spChg chg="add mod">
          <ac:chgData name="Aurelien Domont" userId="6da7715ce44349b3" providerId="LiveId" clId="{8A0023AE-969A-4547-AF3A-B7A2EFB890D6}" dt="2022-10-11T02:42:32.702" v="554"/>
          <ac:spMkLst>
            <pc:docMk/>
            <pc:sldMk cId="1703719684" sldId="2375"/>
            <ac:spMk id="15" creationId="{2D6C63F4-493A-B274-34A3-D50F6B78DD0D}"/>
          </ac:spMkLst>
        </pc:spChg>
        <pc:spChg chg="add mod">
          <ac:chgData name="Aurelien Domont" userId="6da7715ce44349b3" providerId="LiveId" clId="{8A0023AE-969A-4547-AF3A-B7A2EFB890D6}" dt="2022-10-11T02:42:32.702" v="554"/>
          <ac:spMkLst>
            <pc:docMk/>
            <pc:sldMk cId="1703719684" sldId="2375"/>
            <ac:spMk id="17" creationId="{0C490C47-9D4F-629E-19C8-B2635C6C0A9F}"/>
          </ac:spMkLst>
        </pc:spChg>
        <pc:spChg chg="add mod">
          <ac:chgData name="Aurelien Domont" userId="6da7715ce44349b3" providerId="LiveId" clId="{8A0023AE-969A-4547-AF3A-B7A2EFB890D6}" dt="2022-10-11T02:42:32.702" v="554"/>
          <ac:spMkLst>
            <pc:docMk/>
            <pc:sldMk cId="1703719684" sldId="2375"/>
            <ac:spMk id="18" creationId="{53B8A48C-0E8C-9416-C134-7CC5DF3C34C4}"/>
          </ac:spMkLst>
        </pc:spChg>
        <pc:spChg chg="add mod">
          <ac:chgData name="Aurelien Domont" userId="6da7715ce44349b3" providerId="LiveId" clId="{8A0023AE-969A-4547-AF3A-B7A2EFB890D6}" dt="2022-10-11T02:44:27.771" v="593" actId="20577"/>
          <ac:spMkLst>
            <pc:docMk/>
            <pc:sldMk cId="1703719684" sldId="2375"/>
            <ac:spMk id="19" creationId="{24352ADA-E2EE-0F5E-057E-18B67E7155FF}"/>
          </ac:spMkLst>
        </pc:spChg>
        <pc:spChg chg="add mod">
          <ac:chgData name="Aurelien Domont" userId="6da7715ce44349b3" providerId="LiveId" clId="{8A0023AE-969A-4547-AF3A-B7A2EFB890D6}" dt="2022-10-11T02:42:32.702" v="554"/>
          <ac:spMkLst>
            <pc:docMk/>
            <pc:sldMk cId="1703719684" sldId="2375"/>
            <ac:spMk id="20" creationId="{9F911A1C-B780-AEA7-8140-8F64E9A922DF}"/>
          </ac:spMkLst>
        </pc:spChg>
        <pc:spChg chg="add mod">
          <ac:chgData name="Aurelien Domont" userId="6da7715ce44349b3" providerId="LiveId" clId="{8A0023AE-969A-4547-AF3A-B7A2EFB890D6}" dt="2022-10-11T02:44:31.613" v="594"/>
          <ac:spMkLst>
            <pc:docMk/>
            <pc:sldMk cId="1703719684" sldId="2375"/>
            <ac:spMk id="21" creationId="{44A24DC2-3809-5A7F-41C1-CB754501494B}"/>
          </ac:spMkLst>
        </pc:spChg>
        <pc:spChg chg="add mod">
          <ac:chgData name="Aurelien Domont" userId="6da7715ce44349b3" providerId="LiveId" clId="{8A0023AE-969A-4547-AF3A-B7A2EFB890D6}" dt="2022-10-11T02:42:32.702" v="554"/>
          <ac:spMkLst>
            <pc:docMk/>
            <pc:sldMk cId="1703719684" sldId="2375"/>
            <ac:spMk id="22" creationId="{D23A7C20-7244-0965-F4C3-BB476D0AD2C2}"/>
          </ac:spMkLst>
        </pc:spChg>
        <pc:spChg chg="add mod">
          <ac:chgData name="Aurelien Domont" userId="6da7715ce44349b3" providerId="LiveId" clId="{8A0023AE-969A-4547-AF3A-B7A2EFB890D6}" dt="2022-10-11T02:42:32.702" v="554"/>
          <ac:spMkLst>
            <pc:docMk/>
            <pc:sldMk cId="1703719684" sldId="2375"/>
            <ac:spMk id="23" creationId="{0B391367-E3D0-E762-EA10-5550A4DE2D09}"/>
          </ac:spMkLst>
        </pc:spChg>
        <pc:spChg chg="add mod">
          <ac:chgData name="Aurelien Domont" userId="6da7715ce44349b3" providerId="LiveId" clId="{8A0023AE-969A-4547-AF3A-B7A2EFB890D6}" dt="2022-10-11T02:42:32.702" v="554"/>
          <ac:spMkLst>
            <pc:docMk/>
            <pc:sldMk cId="1703719684" sldId="2375"/>
            <ac:spMk id="24" creationId="{C2CD7216-A898-03CC-B802-1613659E3F17}"/>
          </ac:spMkLst>
        </pc:spChg>
        <pc:spChg chg="add mod">
          <ac:chgData name="Aurelien Domont" userId="6da7715ce44349b3" providerId="LiveId" clId="{8A0023AE-969A-4547-AF3A-B7A2EFB890D6}" dt="2022-10-11T02:44:34.002" v="595"/>
          <ac:spMkLst>
            <pc:docMk/>
            <pc:sldMk cId="1703719684" sldId="2375"/>
            <ac:spMk id="25" creationId="{273702BA-B2BD-E76F-FF2B-9F076ED61FFF}"/>
          </ac:spMkLst>
        </pc:spChg>
        <pc:spChg chg="add del mod">
          <ac:chgData name="Aurelien Domont" userId="6da7715ce44349b3" providerId="LiveId" clId="{8A0023AE-969A-4547-AF3A-B7A2EFB890D6}" dt="2022-10-11T02:43:42.629" v="563" actId="478"/>
          <ac:spMkLst>
            <pc:docMk/>
            <pc:sldMk cId="1703719684" sldId="2375"/>
            <ac:spMk id="26" creationId="{9BB7F475-D4F6-6E65-A955-27DD08DB432E}"/>
          </ac:spMkLst>
        </pc:spChg>
        <pc:spChg chg="mod">
          <ac:chgData name="Aurelien Domont" userId="6da7715ce44349b3" providerId="LiveId" clId="{8A0023AE-969A-4547-AF3A-B7A2EFB890D6}" dt="2022-10-11T02:42:32.702" v="554"/>
          <ac:spMkLst>
            <pc:docMk/>
            <pc:sldMk cId="1703719684" sldId="2375"/>
            <ac:spMk id="28" creationId="{C91DF970-EC87-A637-DD07-535EA78B3333}"/>
          </ac:spMkLst>
        </pc:spChg>
        <pc:spChg chg="mod">
          <ac:chgData name="Aurelien Domont" userId="6da7715ce44349b3" providerId="LiveId" clId="{8A0023AE-969A-4547-AF3A-B7A2EFB890D6}" dt="2022-10-11T02:42:32.702" v="554"/>
          <ac:spMkLst>
            <pc:docMk/>
            <pc:sldMk cId="1703719684" sldId="2375"/>
            <ac:spMk id="29" creationId="{B3478F75-43ED-A48C-B291-3FAEBBC7F6FC}"/>
          </ac:spMkLst>
        </pc:spChg>
        <pc:spChg chg="mod">
          <ac:chgData name="Aurelien Domont" userId="6da7715ce44349b3" providerId="LiveId" clId="{8A0023AE-969A-4547-AF3A-B7A2EFB890D6}" dt="2022-10-11T02:42:32.702" v="554"/>
          <ac:spMkLst>
            <pc:docMk/>
            <pc:sldMk cId="1703719684" sldId="2375"/>
            <ac:spMk id="31" creationId="{FDDF2587-386D-B78F-E462-AADCCB7FC62A}"/>
          </ac:spMkLst>
        </pc:spChg>
        <pc:spChg chg="mod">
          <ac:chgData name="Aurelien Domont" userId="6da7715ce44349b3" providerId="LiveId" clId="{8A0023AE-969A-4547-AF3A-B7A2EFB890D6}" dt="2022-10-11T02:42:32.702" v="554"/>
          <ac:spMkLst>
            <pc:docMk/>
            <pc:sldMk cId="1703719684" sldId="2375"/>
            <ac:spMk id="32" creationId="{3F0D174C-C36F-112D-AC4F-409BFCE2CD06}"/>
          </ac:spMkLst>
        </pc:spChg>
        <pc:spChg chg="mod">
          <ac:chgData name="Aurelien Domont" userId="6da7715ce44349b3" providerId="LiveId" clId="{8A0023AE-969A-4547-AF3A-B7A2EFB890D6}" dt="2022-10-11T02:42:32.702" v="554"/>
          <ac:spMkLst>
            <pc:docMk/>
            <pc:sldMk cId="1703719684" sldId="2375"/>
            <ac:spMk id="34" creationId="{6BB7A51C-ADB1-2CD9-DD90-E5BA95BB6C5E}"/>
          </ac:spMkLst>
        </pc:spChg>
        <pc:spChg chg="mod">
          <ac:chgData name="Aurelien Domont" userId="6da7715ce44349b3" providerId="LiveId" clId="{8A0023AE-969A-4547-AF3A-B7A2EFB890D6}" dt="2022-10-11T02:42:32.702" v="554"/>
          <ac:spMkLst>
            <pc:docMk/>
            <pc:sldMk cId="1703719684" sldId="2375"/>
            <ac:spMk id="35" creationId="{91253CF1-71B4-41FD-9117-582B9A4B7564}"/>
          </ac:spMkLst>
        </pc:spChg>
        <pc:spChg chg="add del mod">
          <ac:chgData name="Aurelien Domont" userId="6da7715ce44349b3" providerId="LiveId" clId="{8A0023AE-969A-4547-AF3A-B7A2EFB890D6}" dt="2022-10-11T02:42:55.785" v="555" actId="478"/>
          <ac:spMkLst>
            <pc:docMk/>
            <pc:sldMk cId="1703719684" sldId="2375"/>
            <ac:spMk id="36" creationId="{08EAD6E2-72CB-DFEF-8813-C23C2E8FF6C0}"/>
          </ac:spMkLst>
        </pc:spChg>
        <pc:spChg chg="add del mod">
          <ac:chgData name="Aurelien Domont" userId="6da7715ce44349b3" providerId="LiveId" clId="{8A0023AE-969A-4547-AF3A-B7A2EFB890D6}" dt="2022-10-11T02:43:42.629" v="563" actId="478"/>
          <ac:spMkLst>
            <pc:docMk/>
            <pc:sldMk cId="1703719684" sldId="2375"/>
            <ac:spMk id="37" creationId="{4DBED09A-FD4D-765C-6034-6A5A25EF8531}"/>
          </ac:spMkLst>
        </pc:spChg>
        <pc:spChg chg="add del mod">
          <ac:chgData name="Aurelien Domont" userId="6da7715ce44349b3" providerId="LiveId" clId="{8A0023AE-969A-4547-AF3A-B7A2EFB890D6}" dt="2022-10-11T02:43:42.629" v="563" actId="478"/>
          <ac:spMkLst>
            <pc:docMk/>
            <pc:sldMk cId="1703719684" sldId="2375"/>
            <ac:spMk id="38" creationId="{62875912-4705-10C6-BF94-8D7EA0A1E899}"/>
          </ac:spMkLst>
        </pc:spChg>
        <pc:spChg chg="add del mod">
          <ac:chgData name="Aurelien Domont" userId="6da7715ce44349b3" providerId="LiveId" clId="{8A0023AE-969A-4547-AF3A-B7A2EFB890D6}" dt="2022-10-11T02:43:42.629" v="563" actId="478"/>
          <ac:spMkLst>
            <pc:docMk/>
            <pc:sldMk cId="1703719684" sldId="2375"/>
            <ac:spMk id="39" creationId="{C5FC4919-88F8-1535-5E7D-E85FD73065D5}"/>
          </ac:spMkLst>
        </pc:spChg>
        <pc:spChg chg="add del mod">
          <ac:chgData name="Aurelien Domont" userId="6da7715ce44349b3" providerId="LiveId" clId="{8A0023AE-969A-4547-AF3A-B7A2EFB890D6}" dt="2022-10-11T02:43:42.629" v="563" actId="478"/>
          <ac:spMkLst>
            <pc:docMk/>
            <pc:sldMk cId="1703719684" sldId="2375"/>
            <ac:spMk id="40" creationId="{000BB6A1-4D4E-97A6-119B-D0E8A71E2605}"/>
          </ac:spMkLst>
        </pc:spChg>
        <pc:spChg chg="add del mod">
          <ac:chgData name="Aurelien Domont" userId="6da7715ce44349b3" providerId="LiveId" clId="{8A0023AE-969A-4547-AF3A-B7A2EFB890D6}" dt="2022-10-11T02:46:11.026" v="630"/>
          <ac:spMkLst>
            <pc:docMk/>
            <pc:sldMk cId="1703719684" sldId="2375"/>
            <ac:spMk id="41" creationId="{48251E5F-6250-C232-45D6-BCE635CFD047}"/>
          </ac:spMkLst>
        </pc:spChg>
        <pc:grpChg chg="add del mod">
          <ac:chgData name="Aurelien Domont" userId="6da7715ce44349b3" providerId="LiveId" clId="{8A0023AE-969A-4547-AF3A-B7A2EFB890D6}" dt="2022-10-11T02:42:55.785" v="555" actId="478"/>
          <ac:grpSpMkLst>
            <pc:docMk/>
            <pc:sldMk cId="1703719684" sldId="2375"/>
            <ac:grpSpMk id="27" creationId="{DA07D0EB-A431-5AAD-B5DB-A4E53172A520}"/>
          </ac:grpSpMkLst>
        </pc:grpChg>
        <pc:grpChg chg="add del mod">
          <ac:chgData name="Aurelien Domont" userId="6da7715ce44349b3" providerId="LiveId" clId="{8A0023AE-969A-4547-AF3A-B7A2EFB890D6}" dt="2022-10-11T02:42:55.785" v="555" actId="478"/>
          <ac:grpSpMkLst>
            <pc:docMk/>
            <pc:sldMk cId="1703719684" sldId="2375"/>
            <ac:grpSpMk id="30" creationId="{47D72855-1940-BB8E-D1B6-1BD766B890DD}"/>
          </ac:grpSpMkLst>
        </pc:grpChg>
        <pc:grpChg chg="add del mod">
          <ac:chgData name="Aurelien Domont" userId="6da7715ce44349b3" providerId="LiveId" clId="{8A0023AE-969A-4547-AF3A-B7A2EFB890D6}" dt="2022-10-11T02:42:55.785" v="555" actId="478"/>
          <ac:grpSpMkLst>
            <pc:docMk/>
            <pc:sldMk cId="1703719684" sldId="2375"/>
            <ac:grpSpMk id="33" creationId="{4EC0AEC1-6D11-932E-524F-5EBAA6105EF9}"/>
          </ac:grpSpMkLst>
        </pc:grpChg>
        <pc:graphicFrameChg chg="del">
          <ac:chgData name="Aurelien Domont" userId="6da7715ce44349b3" providerId="LiveId" clId="{8A0023AE-969A-4547-AF3A-B7A2EFB890D6}" dt="2022-10-11T02:42:13.819" v="553" actId="478"/>
          <ac:graphicFrameMkLst>
            <pc:docMk/>
            <pc:sldMk cId="1703719684" sldId="2375"/>
            <ac:graphicFrameMk id="4" creationId="{8468978C-2447-0281-8457-06E955190213}"/>
          </ac:graphicFrameMkLst>
        </pc:graphicFrameChg>
      </pc:sldChg>
      <pc:sldChg chg="modSp add del mod">
        <pc:chgData name="Aurelien Domont" userId="6da7715ce44349b3" providerId="LiveId" clId="{8A0023AE-969A-4547-AF3A-B7A2EFB890D6}" dt="2022-10-12T05:09:09.981" v="1285" actId="47"/>
        <pc:sldMkLst>
          <pc:docMk/>
          <pc:sldMk cId="2619046850" sldId="2376"/>
        </pc:sldMkLst>
        <pc:spChg chg="mod">
          <ac:chgData name="Aurelien Domont" userId="6da7715ce44349b3" providerId="LiveId" clId="{8A0023AE-969A-4547-AF3A-B7A2EFB890D6}" dt="2022-10-11T02:45:36.980" v="619" actId="1037"/>
          <ac:spMkLst>
            <pc:docMk/>
            <pc:sldMk cId="2619046850" sldId="2376"/>
            <ac:spMk id="2" creationId="{F03AA675-CE53-0354-1BB9-59F694345992}"/>
          </ac:spMkLst>
        </pc:spChg>
      </pc:sldChg>
      <pc:sldChg chg="addSp modSp add mod ord">
        <pc:chgData name="Aurelien Domont" userId="6da7715ce44349b3" providerId="LiveId" clId="{8A0023AE-969A-4547-AF3A-B7A2EFB890D6}" dt="2022-10-17T03:04:31.980" v="1616" actId="20577"/>
        <pc:sldMkLst>
          <pc:docMk/>
          <pc:sldMk cId="3702560362" sldId="2377"/>
        </pc:sldMkLst>
        <pc:spChg chg="add mod">
          <ac:chgData name="Aurelien Domont" userId="6da7715ce44349b3" providerId="LiveId" clId="{8A0023AE-969A-4547-AF3A-B7A2EFB890D6}" dt="2022-10-11T02:46:19.006" v="639" actId="20577"/>
          <ac:spMkLst>
            <pc:docMk/>
            <pc:sldMk cId="3702560362" sldId="2377"/>
            <ac:spMk id="3" creationId="{DFBF9F0F-8CD3-A702-0439-3927B69DA04D}"/>
          </ac:spMkLst>
        </pc:spChg>
        <pc:spChg chg="mod">
          <ac:chgData name="Aurelien Domont" userId="6da7715ce44349b3" providerId="LiveId" clId="{8A0023AE-969A-4547-AF3A-B7A2EFB890D6}" dt="2022-10-11T02:46:04.779" v="628" actId="14100"/>
          <ac:spMkLst>
            <pc:docMk/>
            <pc:sldMk cId="3702560362" sldId="2377"/>
            <ac:spMk id="6" creationId="{468EAADD-4AAB-455C-A48F-C536362E3405}"/>
          </ac:spMkLst>
        </pc:spChg>
        <pc:graphicFrameChg chg="modGraphic">
          <ac:chgData name="Aurelien Domont" userId="6da7715ce44349b3" providerId="LiveId" clId="{8A0023AE-969A-4547-AF3A-B7A2EFB890D6}" dt="2022-10-17T03:04:31.980" v="1616" actId="20577"/>
          <ac:graphicFrameMkLst>
            <pc:docMk/>
            <pc:sldMk cId="3702560362" sldId="2377"/>
            <ac:graphicFrameMk id="12" creationId="{C4FB94D5-9A0B-485F-BDA1-764C16AA774A}"/>
          </ac:graphicFrameMkLst>
        </pc:graphicFrameChg>
      </pc:sldChg>
      <pc:sldChg chg="addSp modSp add mod ord">
        <pc:chgData name="Aurelien Domont" userId="6da7715ce44349b3" providerId="LiveId" clId="{8A0023AE-969A-4547-AF3A-B7A2EFB890D6}" dt="2022-10-17T03:06:51.618" v="1617" actId="20577"/>
        <pc:sldMkLst>
          <pc:docMk/>
          <pc:sldMk cId="1477722458" sldId="2378"/>
        </pc:sldMkLst>
        <pc:spChg chg="add mod">
          <ac:chgData name="Aurelien Domont" userId="6da7715ce44349b3" providerId="LiveId" clId="{8A0023AE-969A-4547-AF3A-B7A2EFB890D6}" dt="2022-10-11T02:46:42.990" v="646"/>
          <ac:spMkLst>
            <pc:docMk/>
            <pc:sldMk cId="1477722458" sldId="2378"/>
            <ac:spMk id="3" creationId="{81585E5A-1E0E-8C35-D05A-7981B91C6ED9}"/>
          </ac:spMkLst>
        </pc:spChg>
        <pc:spChg chg="mod">
          <ac:chgData name="Aurelien Domont" userId="6da7715ce44349b3" providerId="LiveId" clId="{8A0023AE-969A-4547-AF3A-B7A2EFB890D6}" dt="2022-10-14T03:17:11.605" v="1402" actId="207"/>
          <ac:spMkLst>
            <pc:docMk/>
            <pc:sldMk cId="1477722458" sldId="2378"/>
            <ac:spMk id="32" creationId="{833D1FDE-EDE5-4372-827B-BB8821270CFF}"/>
          </ac:spMkLst>
        </pc:spChg>
        <pc:spChg chg="mod">
          <ac:chgData name="Aurelien Domont" userId="6da7715ce44349b3" providerId="LiveId" clId="{8A0023AE-969A-4547-AF3A-B7A2EFB890D6}" dt="2022-10-14T03:17:11.605" v="1402" actId="207"/>
          <ac:spMkLst>
            <pc:docMk/>
            <pc:sldMk cId="1477722458" sldId="2378"/>
            <ac:spMk id="37" creationId="{AE1B278F-5614-433D-A72F-877ABC8A051A}"/>
          </ac:spMkLst>
        </pc:spChg>
        <pc:spChg chg="mod">
          <ac:chgData name="Aurelien Domont" userId="6da7715ce44349b3" providerId="LiveId" clId="{8A0023AE-969A-4547-AF3A-B7A2EFB890D6}" dt="2022-10-14T03:17:11.605" v="1402" actId="207"/>
          <ac:spMkLst>
            <pc:docMk/>
            <pc:sldMk cId="1477722458" sldId="2378"/>
            <ac:spMk id="38" creationId="{BF03C2EE-A9B9-40EE-89E3-0EF35A1507F8}"/>
          </ac:spMkLst>
        </pc:spChg>
        <pc:spChg chg="mod">
          <ac:chgData name="Aurelien Domont" userId="6da7715ce44349b3" providerId="LiveId" clId="{8A0023AE-969A-4547-AF3A-B7A2EFB890D6}" dt="2022-10-14T03:17:11.605" v="1402" actId="207"/>
          <ac:spMkLst>
            <pc:docMk/>
            <pc:sldMk cId="1477722458" sldId="2378"/>
            <ac:spMk id="39" creationId="{E6AD0EA4-F3F1-457B-944A-E3D972AB0B87}"/>
          </ac:spMkLst>
        </pc:spChg>
        <pc:spChg chg="mod">
          <ac:chgData name="Aurelien Domont" userId="6da7715ce44349b3" providerId="LiveId" clId="{8A0023AE-969A-4547-AF3A-B7A2EFB890D6}" dt="2022-10-17T03:06:51.618" v="1617" actId="20577"/>
          <ac:spMkLst>
            <pc:docMk/>
            <pc:sldMk cId="1477722458" sldId="2378"/>
            <ac:spMk id="41" creationId="{16755C06-5769-4BCC-AC9B-DD1E79480D21}"/>
          </ac:spMkLst>
        </pc:spChg>
      </pc:sldChg>
      <pc:sldChg chg="modSp add del mod ord">
        <pc:chgData name="Aurelien Domont" userId="6da7715ce44349b3" providerId="LiveId" clId="{8A0023AE-969A-4547-AF3A-B7A2EFB890D6}" dt="2022-10-12T05:09:20.174" v="1304" actId="47"/>
        <pc:sldMkLst>
          <pc:docMk/>
          <pc:sldMk cId="1898149735" sldId="2379"/>
        </pc:sldMkLst>
        <pc:spChg chg="mod">
          <ac:chgData name="Aurelien Domont" userId="6da7715ce44349b3" providerId="LiveId" clId="{8A0023AE-969A-4547-AF3A-B7A2EFB890D6}" dt="2022-10-11T02:47:36.527" v="661" actId="1036"/>
          <ac:spMkLst>
            <pc:docMk/>
            <pc:sldMk cId="1898149735" sldId="2379"/>
            <ac:spMk id="2" creationId="{F03AA675-CE53-0354-1BB9-59F694345992}"/>
          </ac:spMkLst>
        </pc:spChg>
      </pc:sldChg>
      <pc:sldChg chg="addSp modSp add ord">
        <pc:chgData name="Aurelien Domont" userId="6da7715ce44349b3" providerId="LiveId" clId="{8A0023AE-969A-4547-AF3A-B7A2EFB890D6}" dt="2022-10-11T02:49:26.847" v="676"/>
        <pc:sldMkLst>
          <pc:docMk/>
          <pc:sldMk cId="983106713" sldId="2380"/>
        </pc:sldMkLst>
        <pc:spChg chg="add mod">
          <ac:chgData name="Aurelien Domont" userId="6da7715ce44349b3" providerId="LiveId" clId="{8A0023AE-969A-4547-AF3A-B7A2EFB890D6}" dt="2022-10-11T02:48:04.249" v="664"/>
          <ac:spMkLst>
            <pc:docMk/>
            <pc:sldMk cId="983106713" sldId="2380"/>
            <ac:spMk id="2" creationId="{8B86740D-F695-156C-0D5A-AA1D16CDFB58}"/>
          </ac:spMkLst>
        </pc:spChg>
      </pc:sldChg>
      <pc:sldChg chg="modSp add del mod ord">
        <pc:chgData name="Aurelien Domont" userId="6da7715ce44349b3" providerId="LiveId" clId="{8A0023AE-969A-4547-AF3A-B7A2EFB890D6}" dt="2022-10-12T05:09:30.100" v="1321" actId="47"/>
        <pc:sldMkLst>
          <pc:docMk/>
          <pc:sldMk cId="4209192957" sldId="2381"/>
        </pc:sldMkLst>
        <pc:spChg chg="mod">
          <ac:chgData name="Aurelien Domont" userId="6da7715ce44349b3" providerId="LiveId" clId="{8A0023AE-969A-4547-AF3A-B7A2EFB890D6}" dt="2022-10-11T02:49:36.344" v="691" actId="1036"/>
          <ac:spMkLst>
            <pc:docMk/>
            <pc:sldMk cId="4209192957" sldId="2381"/>
            <ac:spMk id="2" creationId="{F03AA675-CE53-0354-1BB9-59F694345992}"/>
          </ac:spMkLst>
        </pc:spChg>
      </pc:sldChg>
      <pc:sldChg chg="modSp add del mod ord">
        <pc:chgData name="Aurelien Domont" userId="6da7715ce44349b3" providerId="LiveId" clId="{8A0023AE-969A-4547-AF3A-B7A2EFB890D6}" dt="2022-10-12T05:09:40.555" v="1341" actId="47"/>
        <pc:sldMkLst>
          <pc:docMk/>
          <pc:sldMk cId="2512314351" sldId="2382"/>
        </pc:sldMkLst>
        <pc:spChg chg="mod">
          <ac:chgData name="Aurelien Domont" userId="6da7715ce44349b3" providerId="LiveId" clId="{8A0023AE-969A-4547-AF3A-B7A2EFB890D6}" dt="2022-10-11T02:51:31.418" v="722" actId="1035"/>
          <ac:spMkLst>
            <pc:docMk/>
            <pc:sldMk cId="2512314351" sldId="2382"/>
            <ac:spMk id="2" creationId="{F03AA675-CE53-0354-1BB9-59F694345992}"/>
          </ac:spMkLst>
        </pc:spChg>
      </pc:sldChg>
      <pc:sldChg chg="add ord">
        <pc:chgData name="Aurelien Domont" userId="6da7715ce44349b3" providerId="LiveId" clId="{8A0023AE-969A-4547-AF3A-B7A2EFB890D6}" dt="2022-10-11T02:52:26.488" v="730"/>
        <pc:sldMkLst>
          <pc:docMk/>
          <pc:sldMk cId="2713893628" sldId="2383"/>
        </pc:sldMkLst>
      </pc:sldChg>
      <pc:sldChg chg="modSp add del mod ord">
        <pc:chgData name="Aurelien Domont" userId="6da7715ce44349b3" providerId="LiveId" clId="{8A0023AE-969A-4547-AF3A-B7A2EFB890D6}" dt="2022-10-12T05:09:48.840" v="1355" actId="47"/>
        <pc:sldMkLst>
          <pc:docMk/>
          <pc:sldMk cId="1832414377" sldId="2384"/>
        </pc:sldMkLst>
        <pc:spChg chg="mod">
          <ac:chgData name="Aurelien Domont" userId="6da7715ce44349b3" providerId="LiveId" clId="{8A0023AE-969A-4547-AF3A-B7A2EFB890D6}" dt="2022-10-11T02:52:38.301" v="744" actId="1036"/>
          <ac:spMkLst>
            <pc:docMk/>
            <pc:sldMk cId="1832414377" sldId="2384"/>
            <ac:spMk id="2" creationId="{F03AA675-CE53-0354-1BB9-59F694345992}"/>
          </ac:spMkLst>
        </pc:spChg>
      </pc:sldChg>
      <pc:sldChg chg="addSp modSp add ord">
        <pc:chgData name="Aurelien Domont" userId="6da7715ce44349b3" providerId="LiveId" clId="{8A0023AE-969A-4547-AF3A-B7A2EFB890D6}" dt="2022-10-11T02:54:25.574" v="750"/>
        <pc:sldMkLst>
          <pc:docMk/>
          <pc:sldMk cId="4085534047" sldId="2385"/>
        </pc:sldMkLst>
        <pc:spChg chg="add mod">
          <ac:chgData name="Aurelien Domont" userId="6da7715ce44349b3" providerId="LiveId" clId="{8A0023AE-969A-4547-AF3A-B7A2EFB890D6}" dt="2022-10-11T02:53:10.952" v="748"/>
          <ac:spMkLst>
            <pc:docMk/>
            <pc:sldMk cId="4085534047" sldId="2385"/>
            <ac:spMk id="4" creationId="{A33082EB-CB0F-5F1D-E82D-38205F6A4E89}"/>
          </ac:spMkLst>
        </pc:spChg>
      </pc:sldChg>
      <pc:sldChg chg="modSp add del mod">
        <pc:chgData name="Aurelien Domont" userId="6da7715ce44349b3" providerId="LiveId" clId="{8A0023AE-969A-4547-AF3A-B7A2EFB890D6}" dt="2022-10-12T05:10:31.148" v="1390" actId="47"/>
        <pc:sldMkLst>
          <pc:docMk/>
          <pc:sldMk cId="3301373416" sldId="2386"/>
        </pc:sldMkLst>
        <pc:spChg chg="mod">
          <ac:chgData name="Aurelien Domont" userId="6da7715ce44349b3" providerId="LiveId" clId="{8A0023AE-969A-4547-AF3A-B7A2EFB890D6}" dt="2022-10-11T02:54:36.762" v="768" actId="14100"/>
          <ac:spMkLst>
            <pc:docMk/>
            <pc:sldMk cId="3301373416" sldId="2386"/>
            <ac:spMk id="2" creationId="{F03AA675-CE53-0354-1BB9-59F694345992}"/>
          </ac:spMkLst>
        </pc:spChg>
      </pc:sldChg>
      <pc:sldChg chg="add del">
        <pc:chgData name="Aurelien Domont" userId="6da7715ce44349b3" providerId="LiveId" clId="{8A0023AE-969A-4547-AF3A-B7A2EFB890D6}" dt="2022-10-11T03:06:58.097" v="1136" actId="47"/>
        <pc:sldMkLst>
          <pc:docMk/>
          <pc:sldMk cId="183931822" sldId="2387"/>
        </pc:sldMkLst>
      </pc:sldChg>
      <pc:sldChg chg="delSp modSp add mod">
        <pc:chgData name="Aurelien Domont" userId="6da7715ce44349b3" providerId="LiveId" clId="{8A0023AE-969A-4547-AF3A-B7A2EFB890D6}" dt="2022-10-11T03:12:35.450" v="1228" actId="20577"/>
        <pc:sldMkLst>
          <pc:docMk/>
          <pc:sldMk cId="3091734652" sldId="2388"/>
        </pc:sldMkLst>
        <pc:spChg chg="mod">
          <ac:chgData name="Aurelien Domont" userId="6da7715ce44349b3" providerId="LiveId" clId="{8A0023AE-969A-4547-AF3A-B7A2EFB890D6}" dt="2022-10-11T03:12:35.450" v="1228" actId="20577"/>
          <ac:spMkLst>
            <pc:docMk/>
            <pc:sldMk cId="3091734652" sldId="2388"/>
            <ac:spMk id="2" creationId="{49810B37-CD63-4014-8736-C6D8CC6370FA}"/>
          </ac:spMkLst>
        </pc:spChg>
        <pc:spChg chg="del">
          <ac:chgData name="Aurelien Domont" userId="6da7715ce44349b3" providerId="LiveId" clId="{8A0023AE-969A-4547-AF3A-B7A2EFB890D6}" dt="2022-10-11T03:02:59.618" v="787" actId="478"/>
          <ac:spMkLst>
            <pc:docMk/>
            <pc:sldMk cId="3091734652" sldId="2388"/>
            <ac:spMk id="4" creationId="{A33082EB-CB0F-5F1D-E82D-38205F6A4E89}"/>
          </ac:spMkLst>
        </pc:spChg>
        <pc:spChg chg="del">
          <ac:chgData name="Aurelien Domont" userId="6da7715ce44349b3" providerId="LiveId" clId="{8A0023AE-969A-4547-AF3A-B7A2EFB890D6}" dt="2022-10-11T03:02:59.618" v="787" actId="478"/>
          <ac:spMkLst>
            <pc:docMk/>
            <pc:sldMk cId="3091734652" sldId="2388"/>
            <ac:spMk id="6" creationId="{FC764768-86EE-4D8D-82BE-8E38AA5235CF}"/>
          </ac:spMkLst>
        </pc:spChg>
        <pc:spChg chg="mod">
          <ac:chgData name="Aurelien Domont" userId="6da7715ce44349b3" providerId="LiveId" clId="{8A0023AE-969A-4547-AF3A-B7A2EFB890D6}" dt="2022-10-11T03:03:32.054" v="865" actId="20577"/>
          <ac:spMkLst>
            <pc:docMk/>
            <pc:sldMk cId="3091734652" sldId="2388"/>
            <ac:spMk id="16" creationId="{6C2BB713-9637-4B9B-938F-E9768876782A}"/>
          </ac:spMkLst>
        </pc:spChg>
      </pc:sldChg>
      <pc:sldChg chg="modSp add mod">
        <pc:chgData name="Aurelien Domont" userId="6da7715ce44349b3" providerId="LiveId" clId="{8A0023AE-969A-4547-AF3A-B7A2EFB890D6}" dt="2022-10-12T22:33:12.582" v="1393"/>
        <pc:sldMkLst>
          <pc:docMk/>
          <pc:sldMk cId="1322082221" sldId="2389"/>
        </pc:sldMkLst>
        <pc:spChg chg="mod">
          <ac:chgData name="Aurelien Domont" userId="6da7715ce44349b3" providerId="LiveId" clId="{8A0023AE-969A-4547-AF3A-B7A2EFB890D6}" dt="2022-10-12T05:09:14.517" v="1302" actId="1035"/>
          <ac:spMkLst>
            <pc:docMk/>
            <pc:sldMk cId="1322082221" sldId="2389"/>
            <ac:spMk id="2" creationId="{F03AA675-CE53-0354-1BB9-59F694345992}"/>
          </ac:spMkLst>
        </pc:spChg>
        <pc:spChg chg="mod">
          <ac:chgData name="Aurelien Domont" userId="6da7715ce44349b3" providerId="LiveId" clId="{8A0023AE-969A-4547-AF3A-B7A2EFB890D6}" dt="2022-10-12T22:33:12.582" v="1393"/>
          <ac:spMkLst>
            <pc:docMk/>
            <pc:sldMk cId="1322082221" sldId="2389"/>
            <ac:spMk id="9" creationId="{BB310480-78CB-ED41-A625-FAA71B96035D}"/>
          </ac:spMkLst>
        </pc:spChg>
      </pc:sldChg>
      <pc:sldChg chg="modSp add mod">
        <pc:chgData name="Aurelien Domont" userId="6da7715ce44349b3" providerId="LiveId" clId="{8A0023AE-969A-4547-AF3A-B7A2EFB890D6}" dt="2022-10-12T22:33:16.997" v="1394"/>
        <pc:sldMkLst>
          <pc:docMk/>
          <pc:sldMk cId="1476795471" sldId="2390"/>
        </pc:sldMkLst>
        <pc:spChg chg="mod">
          <ac:chgData name="Aurelien Domont" userId="6da7715ce44349b3" providerId="LiveId" clId="{8A0023AE-969A-4547-AF3A-B7A2EFB890D6}" dt="2022-10-12T05:09:24.867" v="1319" actId="1036"/>
          <ac:spMkLst>
            <pc:docMk/>
            <pc:sldMk cId="1476795471" sldId="2390"/>
            <ac:spMk id="2" creationId="{F03AA675-CE53-0354-1BB9-59F694345992}"/>
          </ac:spMkLst>
        </pc:spChg>
        <pc:spChg chg="mod">
          <ac:chgData name="Aurelien Domont" userId="6da7715ce44349b3" providerId="LiveId" clId="{8A0023AE-969A-4547-AF3A-B7A2EFB890D6}" dt="2022-10-12T22:33:16.997" v="1394"/>
          <ac:spMkLst>
            <pc:docMk/>
            <pc:sldMk cId="1476795471" sldId="2390"/>
            <ac:spMk id="9" creationId="{BB310480-78CB-ED41-A625-FAA71B96035D}"/>
          </ac:spMkLst>
        </pc:spChg>
      </pc:sldChg>
      <pc:sldChg chg="modSp add mod">
        <pc:chgData name="Aurelien Domont" userId="6da7715ce44349b3" providerId="LiveId" clId="{8A0023AE-969A-4547-AF3A-B7A2EFB890D6}" dt="2022-10-12T22:33:19.531" v="1395"/>
        <pc:sldMkLst>
          <pc:docMk/>
          <pc:sldMk cId="1098388366" sldId="2391"/>
        </pc:sldMkLst>
        <pc:spChg chg="mod">
          <ac:chgData name="Aurelien Domont" userId="6da7715ce44349b3" providerId="LiveId" clId="{8A0023AE-969A-4547-AF3A-B7A2EFB890D6}" dt="2022-10-12T05:09:35.104" v="1339" actId="1035"/>
          <ac:spMkLst>
            <pc:docMk/>
            <pc:sldMk cId="1098388366" sldId="2391"/>
            <ac:spMk id="2" creationId="{F03AA675-CE53-0354-1BB9-59F694345992}"/>
          </ac:spMkLst>
        </pc:spChg>
        <pc:spChg chg="mod">
          <ac:chgData name="Aurelien Domont" userId="6da7715ce44349b3" providerId="LiveId" clId="{8A0023AE-969A-4547-AF3A-B7A2EFB890D6}" dt="2022-10-12T22:33:19.531" v="1395"/>
          <ac:spMkLst>
            <pc:docMk/>
            <pc:sldMk cId="1098388366" sldId="2391"/>
            <ac:spMk id="9" creationId="{BB310480-78CB-ED41-A625-FAA71B96035D}"/>
          </ac:spMkLst>
        </pc:spChg>
      </pc:sldChg>
      <pc:sldChg chg="modSp add mod">
        <pc:chgData name="Aurelien Domont" userId="6da7715ce44349b3" providerId="LiveId" clId="{8A0023AE-969A-4547-AF3A-B7A2EFB890D6}" dt="2022-10-12T22:33:22.631" v="1396"/>
        <pc:sldMkLst>
          <pc:docMk/>
          <pc:sldMk cId="3514489075" sldId="2392"/>
        </pc:sldMkLst>
        <pc:spChg chg="mod">
          <ac:chgData name="Aurelien Domont" userId="6da7715ce44349b3" providerId="LiveId" clId="{8A0023AE-969A-4547-AF3A-B7A2EFB890D6}" dt="2022-10-12T05:09:44.694" v="1353" actId="1036"/>
          <ac:spMkLst>
            <pc:docMk/>
            <pc:sldMk cId="3514489075" sldId="2392"/>
            <ac:spMk id="2" creationId="{F03AA675-CE53-0354-1BB9-59F694345992}"/>
          </ac:spMkLst>
        </pc:spChg>
        <pc:spChg chg="mod">
          <ac:chgData name="Aurelien Domont" userId="6da7715ce44349b3" providerId="LiveId" clId="{8A0023AE-969A-4547-AF3A-B7A2EFB890D6}" dt="2022-10-12T22:33:22.631" v="1396"/>
          <ac:spMkLst>
            <pc:docMk/>
            <pc:sldMk cId="3514489075" sldId="2392"/>
            <ac:spMk id="9" creationId="{BB310480-78CB-ED41-A625-FAA71B96035D}"/>
          </ac:spMkLst>
        </pc:spChg>
      </pc:sldChg>
      <pc:sldChg chg="modSp add mod">
        <pc:chgData name="Aurelien Domont" userId="6da7715ce44349b3" providerId="LiveId" clId="{8A0023AE-969A-4547-AF3A-B7A2EFB890D6}" dt="2022-10-12T22:33:26.062" v="1397"/>
        <pc:sldMkLst>
          <pc:docMk/>
          <pc:sldMk cId="1667582951" sldId="2393"/>
        </pc:sldMkLst>
        <pc:spChg chg="mod">
          <ac:chgData name="Aurelien Domont" userId="6da7715ce44349b3" providerId="LiveId" clId="{8A0023AE-969A-4547-AF3A-B7A2EFB890D6}" dt="2022-10-12T05:09:54.415" v="1373" actId="1035"/>
          <ac:spMkLst>
            <pc:docMk/>
            <pc:sldMk cId="1667582951" sldId="2393"/>
            <ac:spMk id="2" creationId="{F03AA675-CE53-0354-1BB9-59F694345992}"/>
          </ac:spMkLst>
        </pc:spChg>
        <pc:spChg chg="mod">
          <ac:chgData name="Aurelien Domont" userId="6da7715ce44349b3" providerId="LiveId" clId="{8A0023AE-969A-4547-AF3A-B7A2EFB890D6}" dt="2022-10-12T22:33:26.062" v="1397"/>
          <ac:spMkLst>
            <pc:docMk/>
            <pc:sldMk cId="1667582951" sldId="2393"/>
            <ac:spMk id="9" creationId="{BB310480-78CB-ED41-A625-FAA71B96035D}"/>
          </ac:spMkLst>
        </pc:spChg>
      </pc:sldChg>
      <pc:sldChg chg="modSp add mod">
        <pc:chgData name="Aurelien Domont" userId="6da7715ce44349b3" providerId="LiveId" clId="{8A0023AE-969A-4547-AF3A-B7A2EFB890D6}" dt="2022-10-12T22:33:28.782" v="1398"/>
        <pc:sldMkLst>
          <pc:docMk/>
          <pc:sldMk cId="2999005819" sldId="2394"/>
        </pc:sldMkLst>
        <pc:spChg chg="mod">
          <ac:chgData name="Aurelien Domont" userId="6da7715ce44349b3" providerId="LiveId" clId="{8A0023AE-969A-4547-AF3A-B7A2EFB890D6}" dt="2022-10-12T05:10:28.254" v="1388" actId="14100"/>
          <ac:spMkLst>
            <pc:docMk/>
            <pc:sldMk cId="2999005819" sldId="2394"/>
            <ac:spMk id="2" creationId="{F03AA675-CE53-0354-1BB9-59F694345992}"/>
          </ac:spMkLst>
        </pc:spChg>
        <pc:spChg chg="mod">
          <ac:chgData name="Aurelien Domont" userId="6da7715ce44349b3" providerId="LiveId" clId="{8A0023AE-969A-4547-AF3A-B7A2EFB890D6}" dt="2022-10-12T22:33:28.782" v="1398"/>
          <ac:spMkLst>
            <pc:docMk/>
            <pc:sldMk cId="2999005819" sldId="2394"/>
            <ac:spMk id="9" creationId="{BB310480-78CB-ED41-A625-FAA71B96035D}"/>
          </ac:spMkLst>
        </pc:spChg>
      </pc:sldChg>
    </pc:docChg>
  </pc:docChgLst>
  <pc:docChgLst>
    <pc:chgData name="Aurelien Domont" userId="6da7715ce44349b3" providerId="LiveId" clId="{B7873C68-9BFD-4325-B07C-6245C360A5D1}"/>
    <pc:docChg chg="undo custSel addSld delSld modSld">
      <pc:chgData name="Aurelien Domont" userId="6da7715ce44349b3" providerId="LiveId" clId="{B7873C68-9BFD-4325-B07C-6245C360A5D1}" dt="2021-05-14T05:06:22.597" v="290" actId="47"/>
      <pc:docMkLst>
        <pc:docMk/>
      </pc:docMkLst>
      <pc:sldChg chg="modSp mod">
        <pc:chgData name="Aurelien Domont" userId="6da7715ce44349b3" providerId="LiveId" clId="{B7873C68-9BFD-4325-B07C-6245C360A5D1}" dt="2021-05-13T04:53:43.632" v="10"/>
        <pc:sldMkLst>
          <pc:docMk/>
          <pc:sldMk cId="1659127470" sldId="1924"/>
        </pc:sldMkLst>
        <pc:spChg chg="mod">
          <ac:chgData name="Aurelien Domont" userId="6da7715ce44349b3" providerId="LiveId" clId="{B7873C68-9BFD-4325-B07C-6245C360A5D1}" dt="2021-05-13T04:53:43.632" v="10"/>
          <ac:spMkLst>
            <pc:docMk/>
            <pc:sldMk cId="1659127470" sldId="1924"/>
            <ac:spMk id="24" creationId="{95714746-22CF-48C5-AD51-9D9AE6E5F2C8}"/>
          </ac:spMkLst>
        </pc:spChg>
      </pc:sldChg>
      <pc:sldChg chg="addSp modSp add del mod">
        <pc:chgData name="Aurelien Domont" userId="6da7715ce44349b3" providerId="LiveId" clId="{B7873C68-9BFD-4325-B07C-6245C360A5D1}" dt="2021-05-13T05:03:35.272" v="16" actId="47"/>
        <pc:sldMkLst>
          <pc:docMk/>
          <pc:sldMk cId="1714784991" sldId="2150"/>
        </pc:sldMkLst>
        <pc:spChg chg="add mod">
          <ac:chgData name="Aurelien Domont" userId="6da7715ce44349b3" providerId="LiveId" clId="{B7873C68-9BFD-4325-B07C-6245C360A5D1}" dt="2021-05-13T05:01:35.252" v="13" actId="207"/>
          <ac:spMkLst>
            <pc:docMk/>
            <pc:sldMk cId="1714784991" sldId="2150"/>
            <ac:spMk id="2" creationId="{4ED3F7DF-E9A5-480E-8B93-7A2E00451A92}"/>
          </ac:spMkLst>
        </pc:spChg>
        <pc:spChg chg="mod">
          <ac:chgData name="Aurelien Domont" userId="6da7715ce44349b3" providerId="LiveId" clId="{B7873C68-9BFD-4325-B07C-6245C360A5D1}" dt="2021-05-13T05:01:39.975" v="14" actId="12"/>
          <ac:spMkLst>
            <pc:docMk/>
            <pc:sldMk cId="1714784991" sldId="2150"/>
            <ac:spMk id="24" creationId="{95714746-22CF-48C5-AD51-9D9AE6E5F2C8}"/>
          </ac:spMkLst>
        </pc:spChg>
        <pc:spChg chg="mod">
          <ac:chgData name="Aurelien Domont" userId="6da7715ce44349b3" providerId="LiveId" clId="{B7873C68-9BFD-4325-B07C-6245C360A5D1}" dt="2021-05-13T05:02:40.900" v="15" actId="12"/>
          <ac:spMkLst>
            <pc:docMk/>
            <pc:sldMk cId="1714784991" sldId="2150"/>
            <ac:spMk id="25" creationId="{0B462317-12E0-4745-AFEC-1DF156C5EB17}"/>
          </ac:spMkLst>
        </pc:spChg>
      </pc:sldChg>
      <pc:sldChg chg="addSp delSp modSp new del mod">
        <pc:chgData name="Aurelien Domont" userId="6da7715ce44349b3" providerId="LiveId" clId="{B7873C68-9BFD-4325-B07C-6245C360A5D1}" dt="2021-05-14T05:06:22.597" v="290" actId="47"/>
        <pc:sldMkLst>
          <pc:docMk/>
          <pc:sldMk cId="4189768353" sldId="2150"/>
        </pc:sldMkLst>
        <pc:spChg chg="add mod">
          <ac:chgData name="Aurelien Domont" userId="6da7715ce44349b3" providerId="LiveId" clId="{B7873C68-9BFD-4325-B07C-6245C360A5D1}" dt="2021-05-13T07:35:33.014" v="224" actId="1076"/>
          <ac:spMkLst>
            <pc:docMk/>
            <pc:sldMk cId="4189768353" sldId="2150"/>
            <ac:spMk id="2" creationId="{E3244593-14AB-40F1-96D0-787E5C3BCF8E}"/>
          </ac:spMkLst>
        </pc:spChg>
        <pc:spChg chg="add del mod">
          <ac:chgData name="Aurelien Domont" userId="6da7715ce44349b3" providerId="LiveId" clId="{B7873C68-9BFD-4325-B07C-6245C360A5D1}" dt="2021-05-13T07:35:25.705" v="221" actId="478"/>
          <ac:spMkLst>
            <pc:docMk/>
            <pc:sldMk cId="4189768353" sldId="2150"/>
            <ac:spMk id="3" creationId="{783D8380-074E-4646-B2C9-4DF149192EB7}"/>
          </ac:spMkLst>
        </pc:spChg>
        <pc:spChg chg="add mod">
          <ac:chgData name="Aurelien Domont" userId="6da7715ce44349b3" providerId="LiveId" clId="{B7873C68-9BFD-4325-B07C-6245C360A5D1}" dt="2021-05-13T07:27:51.866" v="173" actId="20577"/>
          <ac:spMkLst>
            <pc:docMk/>
            <pc:sldMk cId="4189768353" sldId="2150"/>
            <ac:spMk id="4" creationId="{F110EECC-B326-47A3-AE11-DA5B5E4C1A62}"/>
          </ac:spMkLst>
        </pc:spChg>
        <pc:spChg chg="add mod">
          <ac:chgData name="Aurelien Domont" userId="6da7715ce44349b3" providerId="LiveId" clId="{B7873C68-9BFD-4325-B07C-6245C360A5D1}" dt="2021-05-13T07:31:32.283" v="217" actId="1076"/>
          <ac:spMkLst>
            <pc:docMk/>
            <pc:sldMk cId="4189768353" sldId="2150"/>
            <ac:spMk id="5" creationId="{2AAE4184-AECD-472D-8BBB-313C21CE89A3}"/>
          </ac:spMkLst>
        </pc:spChg>
        <pc:spChg chg="add del mod">
          <ac:chgData name="Aurelien Domont" userId="6da7715ce44349b3" providerId="LiveId" clId="{B7873C68-9BFD-4325-B07C-6245C360A5D1}" dt="2021-05-13T07:31:13.431" v="215"/>
          <ac:spMkLst>
            <pc:docMk/>
            <pc:sldMk cId="4189768353" sldId="2150"/>
            <ac:spMk id="6" creationId="{8F2034A6-4FFF-43EE-B4C4-2017C44071DF}"/>
          </ac:spMkLst>
        </pc:spChg>
        <pc:spChg chg="add mod">
          <ac:chgData name="Aurelien Domont" userId="6da7715ce44349b3" providerId="LiveId" clId="{B7873C68-9BFD-4325-B07C-6245C360A5D1}" dt="2021-05-13T07:33:22.024" v="219"/>
          <ac:spMkLst>
            <pc:docMk/>
            <pc:sldMk cId="4189768353" sldId="2150"/>
            <ac:spMk id="7" creationId="{59C734AD-4E2E-49E4-83D5-6C2C3CFF194B}"/>
          </ac:spMkLst>
        </pc:spChg>
        <pc:spChg chg="add mod">
          <ac:chgData name="Aurelien Domont" userId="6da7715ce44349b3" providerId="LiveId" clId="{B7873C68-9BFD-4325-B07C-6245C360A5D1}" dt="2021-05-13T07:36:54.598" v="289" actId="20577"/>
          <ac:spMkLst>
            <pc:docMk/>
            <pc:sldMk cId="4189768353" sldId="2150"/>
            <ac:spMk id="8" creationId="{DC5DA6E5-FEA6-4AB5-9996-63EBED53B952}"/>
          </ac:spMkLst>
        </pc:spChg>
      </pc:sldChg>
      <pc:sldMasterChg chg="delSldLayout">
        <pc:chgData name="Aurelien Domont" userId="6da7715ce44349b3" providerId="LiveId" clId="{B7873C68-9BFD-4325-B07C-6245C360A5D1}" dt="2021-05-14T05:06:22.597" v="290" actId="47"/>
        <pc:sldMasterMkLst>
          <pc:docMk/>
          <pc:sldMasterMk cId="630589790" sldId="2147483664"/>
        </pc:sldMasterMkLst>
        <pc:sldLayoutChg chg="del">
          <pc:chgData name="Aurelien Domont" userId="6da7715ce44349b3" providerId="LiveId" clId="{B7873C68-9BFD-4325-B07C-6245C360A5D1}" dt="2021-05-14T05:06:22.597" v="290" actId="47"/>
          <pc:sldLayoutMkLst>
            <pc:docMk/>
            <pc:sldMasterMk cId="630589790" sldId="2147483664"/>
            <pc:sldLayoutMk cId="479443308" sldId="2147483673"/>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5/25/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5/2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1352351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15975970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3945312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27438069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2341702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434660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19291067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42288149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23817010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1291686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626697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1</a:t>
            </a:fld>
            <a:endParaRPr lang="en-US" dirty="0"/>
          </a:p>
        </p:txBody>
      </p:sp>
    </p:spTree>
    <p:extLst>
      <p:ext uri="{BB962C8B-B14F-4D97-AF65-F5344CB8AC3E}">
        <p14:creationId xmlns:p14="http://schemas.microsoft.com/office/powerpoint/2010/main" val="8325489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37632520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199582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3108981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2148444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8896018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3726524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21326915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3.xml"/><Relationship Id="rId1" Type="http://schemas.openxmlformats.org/officeDocument/2006/relationships/tags" Target="../tags/tag159.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3.xml"/><Relationship Id="rId1" Type="http://schemas.openxmlformats.org/officeDocument/2006/relationships/tags" Target="../tags/tag160.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3.xml"/><Relationship Id="rId1" Type="http://schemas.openxmlformats.org/officeDocument/2006/relationships/tags" Target="../tags/tag161.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2.emf"/><Relationship Id="rId4" Type="http://schemas.openxmlformats.org/officeDocument/2006/relationships/oleObject" Target="../embeddings/oleObject9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2.emf"/><Relationship Id="rId4" Type="http://schemas.openxmlformats.org/officeDocument/2006/relationships/oleObject" Target="../embeddings/oleObject9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9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2.emf"/><Relationship Id="rId4" Type="http://schemas.openxmlformats.org/officeDocument/2006/relationships/oleObject" Target="../embeddings/oleObject100.bin"/></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4.xml"/><Relationship Id="rId1" Type="http://schemas.openxmlformats.org/officeDocument/2006/relationships/tags" Target="../tags/tag174.xml"/><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4.xml"/><Relationship Id="rId1" Type="http://schemas.openxmlformats.org/officeDocument/2006/relationships/tags" Target="../tags/tag175.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14.xml"/><Relationship Id="rId1" Type="http://schemas.openxmlformats.org/officeDocument/2006/relationships/tags" Target="../tags/tag176.xml"/><Relationship Id="rId4" Type="http://schemas.openxmlformats.org/officeDocument/2006/relationships/image" Target="../media/image2.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2.emf"/><Relationship Id="rId4" Type="http://schemas.openxmlformats.org/officeDocument/2006/relationships/oleObject" Target="../embeddings/oleObject106.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8.xml"/><Relationship Id="rId1" Type="http://schemas.openxmlformats.org/officeDocument/2006/relationships/tags" Target="../tags/tag187.xml"/><Relationship Id="rId5" Type="http://schemas.openxmlformats.org/officeDocument/2006/relationships/image" Target="../media/image2.emf"/><Relationship Id="rId4" Type="http://schemas.openxmlformats.org/officeDocument/2006/relationships/oleObject" Target="../embeddings/oleObject109.bin"/></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5.xml"/><Relationship Id="rId1" Type="http://schemas.openxmlformats.org/officeDocument/2006/relationships/tags" Target="../tags/tag189.xml"/><Relationship Id="rId4" Type="http://schemas.openxmlformats.org/officeDocument/2006/relationships/image" Target="../media/image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15.xml"/><Relationship Id="rId1" Type="http://schemas.openxmlformats.org/officeDocument/2006/relationships/tags" Target="../tags/tag190.xml"/><Relationship Id="rId4" Type="http://schemas.openxmlformats.org/officeDocument/2006/relationships/image" Target="../media/image2.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5.xml"/><Relationship Id="rId1" Type="http://schemas.openxmlformats.org/officeDocument/2006/relationships/tags" Target="../tags/tag191.xml"/><Relationship Id="rId4" Type="http://schemas.openxmlformats.org/officeDocument/2006/relationships/image" Target="../media/image2.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0.xml"/><Relationship Id="rId1" Type="http://schemas.openxmlformats.org/officeDocument/2006/relationships/tags" Target="../tags/tag115.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0.xml"/><Relationship Id="rId1" Type="http://schemas.openxmlformats.org/officeDocument/2006/relationships/tags" Target="../tags/tag116.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2.emf"/><Relationship Id="rId4" Type="http://schemas.openxmlformats.org/officeDocument/2006/relationships/oleObject" Target="../embeddings/oleObject7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1.xml"/><Relationship Id="rId1" Type="http://schemas.openxmlformats.org/officeDocument/2006/relationships/tags" Target="../tags/tag129.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1.xml"/><Relationship Id="rId1" Type="http://schemas.openxmlformats.org/officeDocument/2006/relationships/tags" Target="../tags/tag130.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1.xml"/><Relationship Id="rId1" Type="http://schemas.openxmlformats.org/officeDocument/2006/relationships/tags" Target="../tags/tag131.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2.emf"/><Relationship Id="rId4" Type="http://schemas.openxmlformats.org/officeDocument/2006/relationships/oleObject" Target="../embeddings/oleObject7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2.emf"/><Relationship Id="rId4" Type="http://schemas.openxmlformats.org/officeDocument/2006/relationships/oleObject" Target="../embeddings/oleObject8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2.emf"/><Relationship Id="rId4" Type="http://schemas.openxmlformats.org/officeDocument/2006/relationships/oleObject" Target="../embeddings/oleObject82.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2.xml"/><Relationship Id="rId1" Type="http://schemas.openxmlformats.org/officeDocument/2006/relationships/tags" Target="../tags/tag144.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2.xml"/><Relationship Id="rId1" Type="http://schemas.openxmlformats.org/officeDocument/2006/relationships/tags" Target="../tags/tag145.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2.xml"/><Relationship Id="rId1" Type="http://schemas.openxmlformats.org/officeDocument/2006/relationships/tags" Target="../tags/tag146.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2.emf"/><Relationship Id="rId4" Type="http://schemas.openxmlformats.org/officeDocument/2006/relationships/oleObject" Target="../embeddings/oleObject87.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2.emf"/><Relationship Id="rId4" Type="http://schemas.openxmlformats.org/officeDocument/2006/relationships/oleObject" Target="../embeddings/oleObject90.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2.emf"/><Relationship Id="rId4" Type="http://schemas.openxmlformats.org/officeDocument/2006/relationships/oleObject" Target="../embeddings/oleObject9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557456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27771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575905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02064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7380969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1966067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8666930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35815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586719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975307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4407910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9344053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4137200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329152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559476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545806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991506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818466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08450318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32289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28760119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8898837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8684300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4431858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57329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23030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31097886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6036503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5932343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692507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6181228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593503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000839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375845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541380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6636839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3136332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6238708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5243339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9049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8881587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538193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8334327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575655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2739052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4240251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441661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057424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823883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143173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57619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4771580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32099285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42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036228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19638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345442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9451840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305908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3057062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5828152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862834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657996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244426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6386105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86217140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1291403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50634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4029016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0292088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9527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image" Target="../media/image1.emf"/><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oleObject" Target="../embeddings/oleObject60.bin"/><Relationship Id="rId5" Type="http://schemas.openxmlformats.org/officeDocument/2006/relationships/slideLayout" Target="../slideLayouts/slideLayout76.xml"/><Relationship Id="rId10" Type="http://schemas.openxmlformats.org/officeDocument/2006/relationships/tags" Target="../tags/tag104.xml"/><Relationship Id="rId4" Type="http://schemas.openxmlformats.org/officeDocument/2006/relationships/slideLayout" Target="../slideLayouts/slideLayout75.xml"/><Relationship Id="rId9" Type="http://schemas.openxmlformats.org/officeDocument/2006/relationships/tags" Target="../tags/tag10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image" Target="../media/image1.emf"/><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oleObject" Target="../embeddings/oleObject68.bin"/><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ags" Target="../tags/tag118.xml"/><Relationship Id="rId5" Type="http://schemas.openxmlformats.org/officeDocument/2006/relationships/slideLayout" Target="../slideLayouts/slideLayout83.xml"/><Relationship Id="rId10" Type="http://schemas.openxmlformats.org/officeDocument/2006/relationships/tags" Target="../tags/tag117.xml"/><Relationship Id="rId4" Type="http://schemas.openxmlformats.org/officeDocument/2006/relationships/slideLayout" Target="../slideLayouts/slideLayout82.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image" Target="../media/image1.emf"/><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oleObject" Target="../embeddings/oleObject77.bin"/><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ags" Target="../tags/tag133.xml"/><Relationship Id="rId5" Type="http://schemas.openxmlformats.org/officeDocument/2006/relationships/slideLayout" Target="../slideLayouts/slideLayout91.xml"/><Relationship Id="rId10" Type="http://schemas.openxmlformats.org/officeDocument/2006/relationships/tags" Target="../tags/tag132.xml"/><Relationship Id="rId4" Type="http://schemas.openxmlformats.org/officeDocument/2006/relationships/slideLayout" Target="../slideLayouts/slideLayout90.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1.emf"/><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oleObject" Target="../embeddings/oleObject86.bin"/><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ags" Target="../tags/tag148.xml"/><Relationship Id="rId5" Type="http://schemas.openxmlformats.org/officeDocument/2006/relationships/slideLayout" Target="../slideLayouts/slideLayout99.xml"/><Relationship Id="rId10" Type="http://schemas.openxmlformats.org/officeDocument/2006/relationships/tags" Target="../tags/tag147.xml"/><Relationship Id="rId4" Type="http://schemas.openxmlformats.org/officeDocument/2006/relationships/slideLayout" Target="../slideLayouts/slideLayout98.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image" Target="../media/image1.emf"/><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oleObject" Target="../embeddings/oleObject95.bin"/><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ags" Target="../tags/tag163.xml"/><Relationship Id="rId5" Type="http://schemas.openxmlformats.org/officeDocument/2006/relationships/slideLayout" Target="../slideLayouts/slideLayout107.xml"/><Relationship Id="rId10" Type="http://schemas.openxmlformats.org/officeDocument/2006/relationships/tags" Target="../tags/tag162.xml"/><Relationship Id="rId4" Type="http://schemas.openxmlformats.org/officeDocument/2006/relationships/slideLayout" Target="../slideLayouts/slideLayout106.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image" Target="../media/image1.emf"/><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oleObject" Target="../embeddings/oleObject104.bin"/><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tags" Target="../tags/tag178.xml"/><Relationship Id="rId5" Type="http://schemas.openxmlformats.org/officeDocument/2006/relationships/slideLayout" Target="../slideLayouts/slideLayout115.xml"/><Relationship Id="rId10" Type="http://schemas.openxmlformats.org/officeDocument/2006/relationships/tags" Target="../tags/tag177.xml"/><Relationship Id="rId4" Type="http://schemas.openxmlformats.org/officeDocument/2006/relationships/slideLayout" Target="../slideLayouts/slideLayout114.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image" Target="../media/image1.emf"/><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oleObject" Target="../embeddings/oleObject113.bin"/><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tags" Target="../tags/tag193.xml"/><Relationship Id="rId5" Type="http://schemas.openxmlformats.org/officeDocument/2006/relationships/slideLayout" Target="../slideLayouts/slideLayout123.xml"/><Relationship Id="rId10" Type="http://schemas.openxmlformats.org/officeDocument/2006/relationships/tags" Target="../tags/tag192.xml"/><Relationship Id="rId4" Type="http://schemas.openxmlformats.org/officeDocument/2006/relationships/slideLayout" Target="../slideLayouts/slideLayout122.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image" Target="../media/image1.emf"/><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oleObject" Target="../embeddings/oleObject115.bin"/><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tags" Target="../tags/tag197.xml"/><Relationship Id="rId5" Type="http://schemas.openxmlformats.org/officeDocument/2006/relationships/slideLayout" Target="../slideLayouts/slideLayout131.xml"/><Relationship Id="rId10" Type="http://schemas.openxmlformats.org/officeDocument/2006/relationships/tags" Target="../tags/tag196.xml"/><Relationship Id="rId4" Type="http://schemas.openxmlformats.org/officeDocument/2006/relationships/slideLayout" Target="../slideLayouts/slideLayout130.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image" Target="../media/image1.emf"/><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oleObject" Target="../embeddings/oleObject117.bin"/><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tags" Target="../tags/tag201.xml"/><Relationship Id="rId5" Type="http://schemas.openxmlformats.org/officeDocument/2006/relationships/slideLayout" Target="../slideLayouts/slideLayout139.xml"/><Relationship Id="rId10" Type="http://schemas.openxmlformats.org/officeDocument/2006/relationships/tags" Target="../tags/tag200.xml"/><Relationship Id="rId4" Type="http://schemas.openxmlformats.org/officeDocument/2006/relationships/slideLayout" Target="../slideLayouts/slideLayout138.xml"/><Relationship Id="rId9"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55065102"/>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56061093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632051139"/>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203388090"/>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5811466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299067679"/>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709583677"/>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555858223"/>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563119191"/>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72.xml"/><Relationship Id="rId7" Type="http://schemas.openxmlformats.org/officeDocument/2006/relationships/image" Target="../media/image3.jp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0.xml"/><Relationship Id="rId7" Type="http://schemas.openxmlformats.org/officeDocument/2006/relationships/image" Target="../media/image7.png"/><Relationship Id="rId2" Type="http://schemas.openxmlformats.org/officeDocument/2006/relationships/slideLayout" Target="../slideLayouts/slideLayout74.xml"/><Relationship Id="rId1" Type="http://schemas.openxmlformats.org/officeDocument/2006/relationships/tags" Target="../tags/tag21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4.xml"/><Relationship Id="rId1" Type="http://schemas.openxmlformats.org/officeDocument/2006/relationships/tags" Target="../tags/tag215.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4.xml"/><Relationship Id="rId1" Type="http://schemas.openxmlformats.org/officeDocument/2006/relationships/tags" Target="../tags/tag216.xml"/><Relationship Id="rId5" Type="http://schemas.openxmlformats.org/officeDocument/2006/relationships/image" Target="../media/image1.emf"/><Relationship Id="rId4" Type="http://schemas.openxmlformats.org/officeDocument/2006/relationships/oleObject" Target="../embeddings/oleObject12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4.xml"/><Relationship Id="rId1" Type="http://schemas.openxmlformats.org/officeDocument/2006/relationships/tags" Target="../tags/tag217.xml"/><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5.png"/><Relationship Id="rId2" Type="http://schemas.openxmlformats.org/officeDocument/2006/relationships/slideLayout" Target="../slideLayouts/slideLayout74.xml"/><Relationship Id="rId1" Type="http://schemas.openxmlformats.org/officeDocument/2006/relationships/tags" Target="../tags/tag21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3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4.xml"/><Relationship Id="rId1" Type="http://schemas.openxmlformats.org/officeDocument/2006/relationships/tags" Target="../tags/tag219.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4.xml"/><Relationship Id="rId1" Type="http://schemas.openxmlformats.org/officeDocument/2006/relationships/tags" Target="../tags/tag220.xml"/><Relationship Id="rId5" Type="http://schemas.openxmlformats.org/officeDocument/2006/relationships/image" Target="../media/image1.emf"/><Relationship Id="rId4" Type="http://schemas.openxmlformats.org/officeDocument/2006/relationships/oleObject" Target="../embeddings/oleObject13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4.xml"/><Relationship Id="rId1" Type="http://schemas.openxmlformats.org/officeDocument/2006/relationships/tags" Target="../tags/tag221.xml"/><Relationship Id="rId5" Type="http://schemas.openxmlformats.org/officeDocument/2006/relationships/image" Target="../media/image1.emf"/><Relationship Id="rId4" Type="http://schemas.openxmlformats.org/officeDocument/2006/relationships/oleObject" Target="../embeddings/oleObject13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png"/><Relationship Id="rId2" Type="http://schemas.openxmlformats.org/officeDocument/2006/relationships/slideLayout" Target="../slideLayouts/slideLayout74.xml"/><Relationship Id="rId1" Type="http://schemas.openxmlformats.org/officeDocument/2006/relationships/tags" Target="../tags/tag22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3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4.xml"/><Relationship Id="rId1" Type="http://schemas.openxmlformats.org/officeDocument/2006/relationships/tags" Target="../tags/tag223.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4.xml"/><Relationship Id="rId1" Type="http://schemas.openxmlformats.org/officeDocument/2006/relationships/tags" Target="../tags/tag206.xml"/><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4.xml"/><Relationship Id="rId1" Type="http://schemas.openxmlformats.org/officeDocument/2006/relationships/tags" Target="../tags/tag224.xml"/><Relationship Id="rId5" Type="http://schemas.openxmlformats.org/officeDocument/2006/relationships/image" Target="../media/image1.emf"/><Relationship Id="rId4" Type="http://schemas.openxmlformats.org/officeDocument/2006/relationships/oleObject" Target="../embeddings/oleObject13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4.xml"/><Relationship Id="rId1" Type="http://schemas.openxmlformats.org/officeDocument/2006/relationships/tags" Target="../tags/tag225.xml"/><Relationship Id="rId5" Type="http://schemas.openxmlformats.org/officeDocument/2006/relationships/image" Target="../media/image1.emf"/><Relationship Id="rId4" Type="http://schemas.openxmlformats.org/officeDocument/2006/relationships/oleObject" Target="../embeddings/oleObject135.bin"/></Relationships>
</file>

<file path=ppt/slides/_rels/slide2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74.xml"/><Relationship Id="rId7" Type="http://schemas.openxmlformats.org/officeDocument/2006/relationships/hyperlink" Target="https://www.domontconsulting.com/" TargetMode="Externa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1.emf"/><Relationship Id="rId5" Type="http://schemas.openxmlformats.org/officeDocument/2006/relationships/oleObject" Target="../embeddings/oleObject136.bin"/><Relationship Id="rId4" Type="http://schemas.openxmlformats.org/officeDocument/2006/relationships/notesSlide" Target="../notesSlides/notesSlide22.xml"/><Relationship Id="rId9" Type="http://schemas.openxmlformats.org/officeDocument/2006/relationships/hyperlink" Target="http://www.domontconsulting.com/"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4.xml"/><Relationship Id="rId1" Type="http://schemas.openxmlformats.org/officeDocument/2006/relationships/tags" Target="../tags/tag207.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4.xml"/><Relationship Id="rId1" Type="http://schemas.openxmlformats.org/officeDocument/2006/relationships/tags" Target="../tags/tag208.xml"/><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4.xml"/><Relationship Id="rId1" Type="http://schemas.openxmlformats.org/officeDocument/2006/relationships/tags" Target="../tags/tag20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4.xml"/><Relationship Id="rId1" Type="http://schemas.openxmlformats.org/officeDocument/2006/relationships/tags" Target="../tags/tag210.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4.xml"/><Relationship Id="rId1" Type="http://schemas.openxmlformats.org/officeDocument/2006/relationships/tags" Target="../tags/tag211.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4.xml"/><Relationship Id="rId1" Type="http://schemas.openxmlformats.org/officeDocument/2006/relationships/tags" Target="../tags/tag212.xml"/><Relationship Id="rId5" Type="http://schemas.openxmlformats.org/officeDocument/2006/relationships/image" Target="../media/image1.emf"/><Relationship Id="rId4" Type="http://schemas.openxmlformats.org/officeDocument/2006/relationships/oleObject" Target="../embeddings/oleObject12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4.xml"/><Relationship Id="rId1" Type="http://schemas.openxmlformats.org/officeDocument/2006/relationships/tags" Target="../tags/tag213.xml"/><Relationship Id="rId5" Type="http://schemas.openxmlformats.org/officeDocument/2006/relationships/image" Target="../media/image1.emf"/><Relationship Id="rId4" Type="http://schemas.openxmlformats.org/officeDocument/2006/relationships/oleObject" Target="../embeddings/oleObject1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29241" cy="1967160"/>
          </a:xfrm>
        </p:spPr>
        <p:txBody>
          <a:bodyPr vert="horz">
            <a:normAutofit/>
          </a:bodyPr>
          <a:lstStyle/>
          <a:p>
            <a:pPr>
              <a:defRPr/>
            </a:pPr>
            <a:r>
              <a:rPr lang="en-US" sz="4800" dirty="0"/>
              <a:t>Financial Analysis</a:t>
            </a:r>
            <a:endParaRPr lang="en-US" sz="5400" b="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ea typeface="+mn-ea"/>
                  <a:cs typeface="+mn-cs"/>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4" name="Picture 3" descr="Three women brainstorming">
            <a:extLst>
              <a:ext uri="{FF2B5EF4-FFF2-40B4-BE49-F238E27FC236}">
                <a16:creationId xmlns:a16="http://schemas.microsoft.com/office/drawing/2014/main" id="{69C2B395-D309-3B1E-76E1-421DE876ED58}"/>
              </a:ext>
            </a:extLst>
          </p:cNvPr>
          <p:cNvPicPr>
            <a:picLocks noChangeAspect="1"/>
          </p:cNvPicPr>
          <p:nvPr/>
        </p:nvPicPr>
        <p:blipFill>
          <a:blip r:embed="rId7"/>
          <a:stretch>
            <a:fillRect/>
          </a:stretch>
        </p:blipFill>
        <p:spPr>
          <a:xfrm>
            <a:off x="250357" y="3040278"/>
            <a:ext cx="5316053" cy="3547497"/>
          </a:xfrm>
          <a:prstGeom prst="rect">
            <a:avLst/>
          </a:prstGeom>
        </p:spPr>
      </p:pic>
      <p:pic>
        <p:nvPicPr>
          <p:cNvPr id="7" name="Picture 6">
            <a:extLst>
              <a:ext uri="{FF2B5EF4-FFF2-40B4-BE49-F238E27FC236}">
                <a16:creationId xmlns:a16="http://schemas.microsoft.com/office/drawing/2014/main" id="{E9965CB9-8342-68A0-A67D-40729389100D}"/>
              </a:ext>
            </a:extLst>
          </p:cNvPr>
          <p:cNvPicPr>
            <a:picLocks noChangeAspect="1"/>
          </p:cNvPicPr>
          <p:nvPr/>
        </p:nvPicPr>
        <p:blipFill>
          <a:blip r:embed="rId8"/>
          <a:stretch>
            <a:fillRect/>
          </a:stretch>
        </p:blipFill>
        <p:spPr>
          <a:xfrm>
            <a:off x="8161795" y="5611869"/>
            <a:ext cx="3779848" cy="871804"/>
          </a:xfrm>
          <a:prstGeom prst="rect">
            <a:avLst/>
          </a:prstGeom>
        </p:spPr>
      </p:pic>
      <p:sp>
        <p:nvSpPr>
          <p:cNvPr id="14" name="Text Placeholder 2">
            <a:extLst>
              <a:ext uri="{FF2B5EF4-FFF2-40B4-BE49-F238E27FC236}">
                <a16:creationId xmlns:a16="http://schemas.microsoft.com/office/drawing/2014/main" id="{AD10BA6F-222D-A2BF-0087-3699000C0366}"/>
              </a:ext>
            </a:extLst>
          </p:cNvPr>
          <p:cNvSpPr txBox="1">
            <a:spLocks/>
          </p:cNvSpPr>
          <p:nvPr/>
        </p:nvSpPr>
        <p:spPr>
          <a:xfrm>
            <a:off x="6176763" y="3572436"/>
            <a:ext cx="5316053" cy="830997"/>
          </a:xfrm>
          <a:prstGeom prst="rect">
            <a:avLst/>
          </a:prstGeom>
        </p:spPr>
        <p:txBody>
          <a:bodyPr vert="horz" wrap="square" lIns="0" tIns="0" rIns="0" bIns="0" rtlCol="0">
            <a:spAutoFit/>
          </a:bodyPr>
          <a:lstStyle>
            <a:lvl1pPr marL="0" indent="0" algn="l" defTabSz="914377" rtl="0" eaLnBrk="1" latinLnBrk="0" hangingPunct="1">
              <a:lnSpc>
                <a:spcPct val="90000"/>
              </a:lnSpc>
              <a:spcBef>
                <a:spcPts val="1000"/>
              </a:spcBef>
              <a:buFont typeface="Arial" panose="020B0604020202020204" pitchFamily="34" charset="0"/>
              <a:buNone/>
              <a:defRPr sz="24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24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dirty="0">
                <a:solidFill>
                  <a:schemeClr val="accent1"/>
                </a:solidFill>
              </a:rPr>
              <a:t>Created by former JP Morgan Investment Bankers, and McKinsey &amp; Deloitte Consultants</a:t>
            </a:r>
            <a:endParaRPr lang="en-US" sz="2000" dirty="0">
              <a:solidFill>
                <a:schemeClr val="accent1"/>
              </a:solidFill>
            </a:endParaRPr>
          </a:p>
        </p:txBody>
      </p:sp>
    </p:spTree>
    <p:extLst>
      <p:ext uri="{BB962C8B-B14F-4D97-AF65-F5344CB8AC3E}">
        <p14:creationId xmlns:p14="http://schemas.microsoft.com/office/powerpoint/2010/main" val="1682979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come Statement</a:t>
            </a:r>
            <a:br>
              <a:rPr lang="en-US" sz="2400" kern="0" dirty="0"/>
            </a:br>
            <a:r>
              <a:rPr lang="en-US" sz="2400" b="0" kern="0" dirty="0"/>
              <a:t>For more details about the income statement, open the Excel document “Income Statemen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pic>
        <p:nvPicPr>
          <p:cNvPr id="14" name="Picture 13">
            <a:extLst>
              <a:ext uri="{FF2B5EF4-FFF2-40B4-BE49-F238E27FC236}">
                <a16:creationId xmlns:a16="http://schemas.microsoft.com/office/drawing/2014/main" id="{55F0D96E-9C02-47A9-9D0A-AC0DD60EEB89}"/>
              </a:ext>
            </a:extLst>
          </p:cNvPr>
          <p:cNvPicPr>
            <a:picLocks noChangeAspect="1"/>
          </p:cNvPicPr>
          <p:nvPr/>
        </p:nvPicPr>
        <p:blipFill>
          <a:blip r:embed="rId6"/>
          <a:stretch>
            <a:fillRect/>
          </a:stretch>
        </p:blipFill>
        <p:spPr>
          <a:xfrm>
            <a:off x="834500" y="2299823"/>
            <a:ext cx="5006824" cy="3745186"/>
          </a:xfrm>
          <a:prstGeom prst="rect">
            <a:avLst/>
          </a:prstGeom>
          <a:effectLst>
            <a:outerShdw blurRad="50800" dist="38100" dir="5400000" algn="t" rotWithShape="0">
              <a:prstClr val="black">
                <a:alpha val="40000"/>
              </a:prstClr>
            </a:outerShdw>
          </a:effectLst>
        </p:spPr>
      </p:pic>
      <p:pic>
        <p:nvPicPr>
          <p:cNvPr id="21" name="Picture 20">
            <a:extLst>
              <a:ext uri="{FF2B5EF4-FFF2-40B4-BE49-F238E27FC236}">
                <a16:creationId xmlns:a16="http://schemas.microsoft.com/office/drawing/2014/main" id="{71BB4AD3-9AFA-4C3C-A14F-D3FDBD1AFE57}"/>
              </a:ext>
            </a:extLst>
          </p:cNvPr>
          <p:cNvPicPr>
            <a:picLocks noChangeAspect="1"/>
          </p:cNvPicPr>
          <p:nvPr/>
        </p:nvPicPr>
        <p:blipFill>
          <a:blip r:embed="rId7"/>
          <a:stretch>
            <a:fillRect/>
          </a:stretch>
        </p:blipFill>
        <p:spPr>
          <a:xfrm>
            <a:off x="6277938" y="2299823"/>
            <a:ext cx="5006826" cy="3748714"/>
          </a:xfrm>
          <a:prstGeom prst="rect">
            <a:avLst/>
          </a:prstGeom>
          <a:effectLst>
            <a:outerShdw blurRad="50800" dist="38100" dir="5400000" algn="t" rotWithShape="0">
              <a:prstClr val="black">
                <a:alpha val="40000"/>
              </a:prstClr>
            </a:outerShdw>
          </a:effectLst>
        </p:spPr>
      </p:pic>
      <p:pic>
        <p:nvPicPr>
          <p:cNvPr id="2" name="Picture 6" descr="Download Microsoft Excel Logo in SVG Vector or PNG File Format - Logo.wine">
            <a:extLst>
              <a:ext uri="{FF2B5EF4-FFF2-40B4-BE49-F238E27FC236}">
                <a16:creationId xmlns:a16="http://schemas.microsoft.com/office/drawing/2014/main" id="{734A5B7A-44EF-8B9C-D494-02F47CF09CE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718628" y="2029191"/>
            <a:ext cx="1132272" cy="75484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Download Microsoft Excel Logo in SVG Vector or PNG File Format - Logo.wine">
            <a:extLst>
              <a:ext uri="{FF2B5EF4-FFF2-40B4-BE49-F238E27FC236}">
                <a16:creationId xmlns:a16="http://schemas.microsoft.com/office/drawing/2014/main" id="{06C4D0E8-7FE1-38D6-CF1C-464E909ABFD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18406" y="2029191"/>
            <a:ext cx="1132272" cy="754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2534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Table of content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7" name="Text Placeholder 2">
            <a:extLst>
              <a:ext uri="{FF2B5EF4-FFF2-40B4-BE49-F238E27FC236}">
                <a16:creationId xmlns:a16="http://schemas.microsoft.com/office/drawing/2014/main" id="{0EAC8984-78B2-02F9-8A1C-A15168FE5866}"/>
              </a:ext>
            </a:extLst>
          </p:cNvPr>
          <p:cNvSpPr txBox="1">
            <a:spLocks/>
          </p:cNvSpPr>
          <p:nvPr/>
        </p:nvSpPr>
        <p:spPr>
          <a:xfrm>
            <a:off x="626012" y="1765121"/>
            <a:ext cx="6889213" cy="2092881"/>
          </a:xfrm>
          <a:prstGeom prst="rect">
            <a:avLst/>
          </a:prstGeom>
        </p:spPr>
        <p:txBody>
          <a:bodyPr vert="horz" wrap="square" lIns="91440" tIns="45720" rIns="91440" bIns="45720" rtlCol="0">
            <a:spAutoFit/>
          </a:bodyPr>
          <a:lst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4013" indent="-239713">
              <a:lnSpc>
                <a:spcPct val="100000"/>
              </a:lnSpc>
              <a:spcBef>
                <a:spcPts val="600"/>
              </a:spcBef>
              <a:spcAft>
                <a:spcPts val="600"/>
              </a:spcAft>
              <a:buFont typeface="+mj-lt"/>
              <a:buAutoNum type="arabicPeriod"/>
              <a:defRPr/>
            </a:pPr>
            <a:r>
              <a:rPr lang="en-GB" sz="1800" b="1" dirty="0">
                <a:solidFill>
                  <a:schemeClr val="accent1"/>
                </a:solidFill>
              </a:rPr>
              <a:t>Financial analysis</a:t>
            </a:r>
          </a:p>
          <a:p>
            <a:pPr marL="354013" indent="-239713">
              <a:lnSpc>
                <a:spcPct val="100000"/>
              </a:lnSpc>
              <a:spcBef>
                <a:spcPts val="600"/>
              </a:spcBef>
              <a:spcAft>
                <a:spcPts val="600"/>
              </a:spcAft>
              <a:buFont typeface="+mj-lt"/>
              <a:buAutoNum type="arabicPeriod"/>
              <a:defRPr/>
            </a:pPr>
            <a:r>
              <a:rPr lang="en-GB" sz="1800" b="1" dirty="0">
                <a:solidFill>
                  <a:schemeClr val="accent1"/>
                </a:solidFill>
              </a:rPr>
              <a:t>Income statement</a:t>
            </a:r>
          </a:p>
          <a:p>
            <a:pPr marL="354013" indent="-239713">
              <a:lnSpc>
                <a:spcPct val="100000"/>
              </a:lnSpc>
              <a:spcBef>
                <a:spcPts val="600"/>
              </a:spcBef>
              <a:spcAft>
                <a:spcPts val="600"/>
              </a:spcAft>
              <a:buFont typeface="+mj-lt"/>
              <a:buAutoNum type="arabicPeriod"/>
              <a:defRPr/>
            </a:pPr>
            <a:r>
              <a:rPr lang="en-GB" sz="1800" b="1" dirty="0">
                <a:solidFill>
                  <a:schemeClr val="accent2"/>
                </a:solidFill>
              </a:rPr>
              <a:t>Balance sheet statement</a:t>
            </a:r>
          </a:p>
          <a:p>
            <a:pPr marL="354013" indent="-239713">
              <a:lnSpc>
                <a:spcPct val="100000"/>
              </a:lnSpc>
              <a:spcBef>
                <a:spcPts val="600"/>
              </a:spcBef>
              <a:spcAft>
                <a:spcPts val="600"/>
              </a:spcAft>
              <a:buFont typeface="+mj-lt"/>
              <a:buAutoNum type="arabicPeriod"/>
              <a:defRPr/>
            </a:pPr>
            <a:r>
              <a:rPr lang="en-GB" sz="1800" b="1" dirty="0">
                <a:solidFill>
                  <a:schemeClr val="accent1"/>
                </a:solidFill>
              </a:rPr>
              <a:t>Cash flow statement</a:t>
            </a:r>
          </a:p>
          <a:p>
            <a:pPr marL="354013" indent="-239713">
              <a:lnSpc>
                <a:spcPct val="100000"/>
              </a:lnSpc>
              <a:spcBef>
                <a:spcPts val="600"/>
              </a:spcBef>
              <a:spcAft>
                <a:spcPts val="600"/>
              </a:spcAft>
              <a:buFont typeface="+mj-lt"/>
              <a:buAutoNum type="arabicPeriod"/>
              <a:defRPr/>
            </a:pPr>
            <a:r>
              <a:rPr lang="en-GB" sz="1800" b="1" dirty="0">
                <a:solidFill>
                  <a:schemeClr val="tx1"/>
                </a:solidFill>
              </a:rPr>
              <a:t>Link between the 3 financial statements</a:t>
            </a:r>
          </a:p>
        </p:txBody>
      </p:sp>
      <p:sp>
        <p:nvSpPr>
          <p:cNvPr id="8" name="Rectangle 7">
            <a:extLst>
              <a:ext uri="{FF2B5EF4-FFF2-40B4-BE49-F238E27FC236}">
                <a16:creationId xmlns:a16="http://schemas.microsoft.com/office/drawing/2014/main" id="{99F56AE0-3467-F056-206D-B318AA8D2254}"/>
              </a:ext>
            </a:extLst>
          </p:cNvPr>
          <p:cNvSpPr/>
          <p:nvPr/>
        </p:nvSpPr>
        <p:spPr>
          <a:xfrm>
            <a:off x="631874" y="1792016"/>
            <a:ext cx="145365" cy="19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265832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 Sheet Statement</a:t>
            </a:r>
            <a:br>
              <a:rPr lang="en-US" sz="2400" kern="0" dirty="0"/>
            </a:br>
            <a:r>
              <a:rPr lang="en-US" sz="2400" b="0" kern="0" dirty="0"/>
              <a:t>Purpos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2" name="Rectangle: Folded Corner 1">
            <a:extLst>
              <a:ext uri="{FF2B5EF4-FFF2-40B4-BE49-F238E27FC236}">
                <a16:creationId xmlns:a16="http://schemas.microsoft.com/office/drawing/2014/main" id="{C8042D7C-02C6-41CC-9707-C9C5F6FA269D}"/>
              </a:ext>
            </a:extLst>
          </p:cNvPr>
          <p:cNvSpPr/>
          <p:nvPr/>
        </p:nvSpPr>
        <p:spPr>
          <a:xfrm>
            <a:off x="4308764" y="2253237"/>
            <a:ext cx="3574472" cy="3763099"/>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Isosceles Triangle 20">
            <a:extLst>
              <a:ext uri="{FF2B5EF4-FFF2-40B4-BE49-F238E27FC236}">
                <a16:creationId xmlns:a16="http://schemas.microsoft.com/office/drawing/2014/main" id="{0BEBB444-0AAC-4415-AD72-D9E834A2A1CF}"/>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2" name="Oval 21">
            <a:extLst>
              <a:ext uri="{FF2B5EF4-FFF2-40B4-BE49-F238E27FC236}">
                <a16:creationId xmlns:a16="http://schemas.microsoft.com/office/drawing/2014/main" id="{9451C740-A260-4E73-93AE-9A3732F37470}"/>
              </a:ext>
            </a:extLst>
          </p:cNvPr>
          <p:cNvSpPr/>
          <p:nvPr/>
        </p:nvSpPr>
        <p:spPr bwMode="auto">
          <a:xfrm>
            <a:off x="6088650" y="1957867"/>
            <a:ext cx="182881" cy="182881"/>
          </a:xfrm>
          <a:prstGeom prst="ellipse">
            <a:avLst/>
          </a:prstGeom>
          <a:gradFill flip="none" rotWithShape="1">
            <a:gsLst>
              <a:gs pos="40000">
                <a:schemeClr val="tx1"/>
              </a:gs>
              <a:gs pos="100000">
                <a:schemeClr val="bg1">
                  <a:lumMod val="85000"/>
                  <a:shade val="100000"/>
                  <a:satMod val="115000"/>
                </a:schemeClr>
              </a:gs>
            </a:gsLst>
            <a:path path="circle">
              <a:fillToRect l="100000" t="100000"/>
            </a:path>
            <a:tileRect r="-100000" b="-100000"/>
          </a:gra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4528487" y="2574245"/>
            <a:ext cx="3135027" cy="2862322"/>
          </a:xfrm>
          <a:prstGeom prst="rect">
            <a:avLst/>
          </a:prstGeom>
          <a:noFill/>
        </p:spPr>
        <p:txBody>
          <a:bodyPr wrap="square" rtlCol="0">
            <a:spAutoFit/>
          </a:bodyPr>
          <a:lstStyle/>
          <a:p>
            <a:pPr>
              <a:spcBef>
                <a:spcPts val="400"/>
              </a:spcBef>
              <a:spcAft>
                <a:spcPts val="400"/>
              </a:spcAft>
            </a:pPr>
            <a:r>
              <a:rPr lang="en-US" sz="2000" b="1" dirty="0"/>
              <a:t>The balance sheet is a financial statement that summarizes a company’s asset, liabilities and shareholders’ equity at a specific point of time (usually the end of a fiscal period)</a:t>
            </a:r>
          </a:p>
        </p:txBody>
      </p:sp>
    </p:spTree>
    <p:extLst>
      <p:ext uri="{BB962C8B-B14F-4D97-AF65-F5344CB8AC3E}">
        <p14:creationId xmlns:p14="http://schemas.microsoft.com/office/powerpoint/2010/main" val="4116201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6871F20-AD44-4091-9AB4-E32EFBB74E13}"/>
              </a:ext>
            </a:extLst>
          </p:cNvPr>
          <p:cNvSpPr>
            <a:spLocks noChangeArrowheads="1"/>
          </p:cNvSpPr>
          <p:nvPr/>
        </p:nvSpPr>
        <p:spPr bwMode="auto">
          <a:xfrm>
            <a:off x="2753987" y="2618531"/>
            <a:ext cx="3205169" cy="2892425"/>
          </a:xfrm>
          <a:prstGeom prst="rect">
            <a:avLst/>
          </a:prstGeom>
          <a:noFill/>
          <a:ln w="12700" algn="ctr">
            <a:solidFill>
              <a:schemeClr val="tx1"/>
            </a:solidFill>
            <a:miter lim="800000"/>
            <a:headEnd/>
            <a:tailEnd/>
          </a:ln>
        </p:spPr>
        <p:txBody>
          <a:bodyPr lIns="40118" tIns="40118" rIns="40118" bIns="40118"/>
          <a:lstStyle/>
          <a:p>
            <a:pPr fontAlgn="auto">
              <a:spcBef>
                <a:spcPts val="400"/>
              </a:spcBef>
              <a:spcAft>
                <a:spcPts val="0"/>
              </a:spcAft>
              <a:buFont typeface="Wingdings 2" pitchFamily="18" charset="2"/>
              <a:buNone/>
              <a:defRPr/>
            </a:pPr>
            <a:endParaRPr lang="en-US" dirty="0">
              <a:cs typeface="+mn-cs"/>
            </a:endParaRPr>
          </a:p>
        </p:txBody>
      </p:sp>
      <p:sp>
        <p:nvSpPr>
          <p:cNvPr id="19" name="Rectangle 11">
            <a:extLst>
              <a:ext uri="{FF2B5EF4-FFF2-40B4-BE49-F238E27FC236}">
                <a16:creationId xmlns:a16="http://schemas.microsoft.com/office/drawing/2014/main" id="{99F22421-4384-4714-B4DB-1DF360E70728}"/>
              </a:ext>
            </a:extLst>
          </p:cNvPr>
          <p:cNvSpPr>
            <a:spLocks noChangeArrowheads="1"/>
          </p:cNvSpPr>
          <p:nvPr/>
        </p:nvSpPr>
        <p:spPr bwMode="auto">
          <a:xfrm>
            <a:off x="6307276" y="2619969"/>
            <a:ext cx="3205168" cy="2894012"/>
          </a:xfrm>
          <a:prstGeom prst="rect">
            <a:avLst/>
          </a:prstGeom>
          <a:noFill/>
          <a:ln w="12700" algn="ctr">
            <a:solidFill>
              <a:schemeClr val="accent2"/>
            </a:solidFill>
            <a:miter lim="800000"/>
            <a:headEnd/>
            <a:tailEnd/>
          </a:ln>
        </p:spPr>
        <p:txBody>
          <a:bodyPr lIns="40118" tIns="40118" rIns="40118" bIns="40118"/>
          <a:lstStyle/>
          <a:p>
            <a:pPr marL="358775" indent="-358775" defTabSz="957263">
              <a:lnSpc>
                <a:spcPct val="106000"/>
              </a:lnSpc>
              <a:spcBef>
                <a:spcPts val="1350"/>
              </a:spcBef>
            </a:pPr>
            <a:endParaRPr lang="nl-NL" sz="1400"/>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 Sheet Statement</a:t>
            </a:r>
            <a:br>
              <a:rPr lang="en-US" sz="2400" kern="0" dirty="0"/>
            </a:br>
            <a:r>
              <a:rPr lang="en-GB" sz="2400" b="0" kern="0" dirty="0"/>
              <a:t>The balance sheet must follow the formula Asset = Liabilities + Shareholders’ Equity</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cxnSp>
        <p:nvCxnSpPr>
          <p:cNvPr id="8" name="Elbow Connector 4">
            <a:extLst>
              <a:ext uri="{FF2B5EF4-FFF2-40B4-BE49-F238E27FC236}">
                <a16:creationId xmlns:a16="http://schemas.microsoft.com/office/drawing/2014/main" id="{6E1A07FB-53DA-4694-A68D-08F3F030A556}"/>
              </a:ext>
            </a:extLst>
          </p:cNvPr>
          <p:cNvCxnSpPr/>
          <p:nvPr/>
        </p:nvCxnSpPr>
        <p:spPr>
          <a:xfrm rot="5400000" flipH="1" flipV="1">
            <a:off x="6118398" y="3817920"/>
            <a:ext cx="29633" cy="3553288"/>
          </a:xfrm>
          <a:prstGeom prst="bentConnector3">
            <a:avLst>
              <a:gd name="adj1" fmla="val -771437"/>
            </a:avLst>
          </a:prstGeom>
          <a:ln w="349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AutoShape 3">
            <a:extLst>
              <a:ext uri="{FF2B5EF4-FFF2-40B4-BE49-F238E27FC236}">
                <a16:creationId xmlns:a16="http://schemas.microsoft.com/office/drawing/2014/main" id="{F53D35E5-0202-4C8A-AFC9-A290A7377DFD}"/>
              </a:ext>
            </a:extLst>
          </p:cNvPr>
          <p:cNvSpPr>
            <a:spLocks noChangeArrowheads="1"/>
          </p:cNvSpPr>
          <p:nvPr/>
        </p:nvSpPr>
        <p:spPr bwMode="auto">
          <a:xfrm flipV="1">
            <a:off x="5800667" y="5861567"/>
            <a:ext cx="662835" cy="52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chemeClr val="bg1">
              <a:lumMod val="50000"/>
            </a:schemeClr>
          </a:solidFill>
          <a:ln w="12700">
            <a:noFill/>
            <a:miter lim="800000"/>
            <a:headEnd/>
            <a:tailEnd/>
          </a:ln>
        </p:spPr>
        <p:txBody>
          <a:bodyPr rot="10800000" wrap="none" anchor="ctr"/>
          <a:lstStyle/>
          <a:p>
            <a:pPr algn="ctr" fontAlgn="auto">
              <a:spcBef>
                <a:spcPts val="0"/>
              </a:spcBef>
              <a:spcAft>
                <a:spcPts val="0"/>
              </a:spcAft>
              <a:defRPr/>
            </a:pPr>
            <a:endParaRPr lang="en-GB" sz="1400" dirty="0">
              <a:cs typeface="+mn-cs"/>
            </a:endParaRPr>
          </a:p>
        </p:txBody>
      </p:sp>
      <p:sp>
        <p:nvSpPr>
          <p:cNvPr id="10" name="Line 4">
            <a:extLst>
              <a:ext uri="{FF2B5EF4-FFF2-40B4-BE49-F238E27FC236}">
                <a16:creationId xmlns:a16="http://schemas.microsoft.com/office/drawing/2014/main" id="{E007664E-F4EA-4E96-80F8-F1C094889F62}"/>
              </a:ext>
            </a:extLst>
          </p:cNvPr>
          <p:cNvSpPr>
            <a:spLocks noChangeShapeType="1"/>
          </p:cNvSpPr>
          <p:nvPr/>
        </p:nvSpPr>
        <p:spPr bwMode="auto">
          <a:xfrm>
            <a:off x="2755745" y="5585569"/>
            <a:ext cx="3203410" cy="0"/>
          </a:xfrm>
          <a:prstGeom prst="line">
            <a:avLst/>
          </a:prstGeom>
          <a:noFill/>
          <a:ln w="50800">
            <a:solidFill>
              <a:schemeClr val="bg1">
                <a:lumMod val="50000"/>
              </a:schemeClr>
            </a:solidFill>
            <a:round/>
            <a:headEnd type="none" w="sm" len="sm"/>
            <a:tailEnd type="none" w="sm" len="sm"/>
          </a:ln>
        </p:spPr>
        <p:txBody>
          <a:bodyPr wrap="none" anchor="ctr"/>
          <a:lstStyle/>
          <a:p>
            <a:pPr fontAlgn="auto">
              <a:spcBef>
                <a:spcPts val="0"/>
              </a:spcBef>
              <a:spcAft>
                <a:spcPts val="0"/>
              </a:spcAft>
              <a:defRPr/>
            </a:pPr>
            <a:endParaRPr lang="en-GB" dirty="0">
              <a:cs typeface="+mn-cs"/>
            </a:endParaRPr>
          </a:p>
        </p:txBody>
      </p:sp>
      <p:sp>
        <p:nvSpPr>
          <p:cNvPr id="11" name="Line 5">
            <a:extLst>
              <a:ext uri="{FF2B5EF4-FFF2-40B4-BE49-F238E27FC236}">
                <a16:creationId xmlns:a16="http://schemas.microsoft.com/office/drawing/2014/main" id="{5E4A0755-4E4B-4809-8706-06A594818EA1}"/>
              </a:ext>
            </a:extLst>
          </p:cNvPr>
          <p:cNvSpPr>
            <a:spLocks noChangeShapeType="1"/>
          </p:cNvSpPr>
          <p:nvPr/>
        </p:nvSpPr>
        <p:spPr bwMode="auto">
          <a:xfrm>
            <a:off x="6307862" y="5587006"/>
            <a:ext cx="3205169" cy="0"/>
          </a:xfrm>
          <a:prstGeom prst="line">
            <a:avLst/>
          </a:prstGeom>
          <a:noFill/>
          <a:ln w="50800">
            <a:solidFill>
              <a:schemeClr val="bg1">
                <a:lumMod val="50000"/>
              </a:schemeClr>
            </a:solidFill>
            <a:round/>
            <a:headEnd type="none" w="sm" len="sm"/>
            <a:tailEnd type="none" w="sm" len="sm"/>
          </a:ln>
        </p:spPr>
        <p:txBody>
          <a:bodyPr wrap="none" anchor="ctr"/>
          <a:lstStyle/>
          <a:p>
            <a:pPr fontAlgn="auto">
              <a:spcBef>
                <a:spcPts val="0"/>
              </a:spcBef>
              <a:spcAft>
                <a:spcPts val="0"/>
              </a:spcAft>
              <a:defRPr/>
            </a:pPr>
            <a:endParaRPr lang="en-GB" dirty="0">
              <a:cs typeface="+mn-cs"/>
            </a:endParaRPr>
          </a:p>
        </p:txBody>
      </p:sp>
      <p:sp>
        <p:nvSpPr>
          <p:cNvPr id="12" name="Text Box 10">
            <a:extLst>
              <a:ext uri="{FF2B5EF4-FFF2-40B4-BE49-F238E27FC236}">
                <a16:creationId xmlns:a16="http://schemas.microsoft.com/office/drawing/2014/main" id="{B910E827-88C6-4168-B232-E09B550EC01F}"/>
              </a:ext>
            </a:extLst>
          </p:cNvPr>
          <p:cNvSpPr txBox="1">
            <a:spLocks noChangeArrowheads="1"/>
          </p:cNvSpPr>
          <p:nvPr/>
        </p:nvSpPr>
        <p:spPr bwMode="auto">
          <a:xfrm>
            <a:off x="2753987" y="2345480"/>
            <a:ext cx="3205169" cy="324983"/>
          </a:xfrm>
          <a:prstGeom prst="rect">
            <a:avLst/>
          </a:prstGeom>
          <a:solidFill>
            <a:schemeClr val="tx1"/>
          </a:solidFill>
          <a:ln w="12700" algn="ctr">
            <a:solidFill>
              <a:schemeClr val="tx2"/>
            </a:solidFill>
            <a:miter lim="800000"/>
            <a:headEnd/>
            <a:tailEnd type="none" w="sm" len="med"/>
          </a:ln>
        </p:spPr>
        <p:txBody>
          <a:bodyPr lIns="40118" tIns="40118" rIns="40118" bIns="40118" anchor="ctr" anchorCtr="1"/>
          <a:lstStyle/>
          <a:p>
            <a:pPr algn="ctr" defTabSz="957263" fontAlgn="auto">
              <a:spcBef>
                <a:spcPts val="0"/>
              </a:spcBef>
              <a:spcAft>
                <a:spcPts val="0"/>
              </a:spcAft>
              <a:defRPr/>
            </a:pPr>
            <a:r>
              <a:rPr lang="en-US" sz="1400" b="1" dirty="0">
                <a:solidFill>
                  <a:schemeClr val="bg1"/>
                </a:solidFill>
                <a:cs typeface="+mn-cs"/>
              </a:rPr>
              <a:t>Asset</a:t>
            </a:r>
          </a:p>
        </p:txBody>
      </p:sp>
      <p:sp>
        <p:nvSpPr>
          <p:cNvPr id="18" name="Text Box 10">
            <a:extLst>
              <a:ext uri="{FF2B5EF4-FFF2-40B4-BE49-F238E27FC236}">
                <a16:creationId xmlns:a16="http://schemas.microsoft.com/office/drawing/2014/main" id="{B68C9FF4-A919-4145-A26B-290191BE0F81}"/>
              </a:ext>
            </a:extLst>
          </p:cNvPr>
          <p:cNvSpPr txBox="1">
            <a:spLocks noChangeArrowheads="1"/>
          </p:cNvSpPr>
          <p:nvPr/>
        </p:nvSpPr>
        <p:spPr bwMode="auto">
          <a:xfrm>
            <a:off x="6307276" y="2348506"/>
            <a:ext cx="3205168" cy="323094"/>
          </a:xfrm>
          <a:prstGeom prst="rect">
            <a:avLst/>
          </a:prstGeom>
          <a:solidFill>
            <a:schemeClr val="accent2"/>
          </a:solidFill>
          <a:ln w="12700" algn="ctr">
            <a:solidFill>
              <a:schemeClr val="tx1">
                <a:lumMod val="50000"/>
                <a:lumOff val="50000"/>
              </a:schemeClr>
            </a:solidFill>
            <a:miter lim="800000"/>
            <a:headEnd/>
            <a:tailEnd type="none" w="sm" len="med"/>
          </a:ln>
        </p:spPr>
        <p:txBody>
          <a:bodyPr lIns="40118" tIns="40118" rIns="40118" bIns="40118" anchor="ctr" anchorCtr="1"/>
          <a:lstStyle>
            <a:lvl1pPr defTabSz="957263" eaLnBrk="0" hangingPunct="0">
              <a:defRPr>
                <a:solidFill>
                  <a:schemeClr val="tx1"/>
                </a:solidFill>
                <a:latin typeface="Arial" charset="0"/>
                <a:cs typeface="Arial" charset="0"/>
              </a:defRPr>
            </a:lvl1pPr>
            <a:lvl2pPr marL="742950" indent="-285750" defTabSz="957263" eaLnBrk="0" hangingPunct="0">
              <a:defRPr>
                <a:solidFill>
                  <a:schemeClr val="tx1"/>
                </a:solidFill>
                <a:latin typeface="Arial" charset="0"/>
                <a:cs typeface="Arial" charset="0"/>
              </a:defRPr>
            </a:lvl2pPr>
            <a:lvl3pPr marL="1143000" indent="-228600" defTabSz="957263" eaLnBrk="0" hangingPunct="0">
              <a:defRPr>
                <a:solidFill>
                  <a:schemeClr val="tx1"/>
                </a:solidFill>
                <a:latin typeface="Arial" charset="0"/>
                <a:cs typeface="Arial" charset="0"/>
              </a:defRPr>
            </a:lvl3pPr>
            <a:lvl4pPr marL="1600200" indent="-228600" defTabSz="957263" eaLnBrk="0" hangingPunct="0">
              <a:defRPr>
                <a:solidFill>
                  <a:schemeClr val="tx1"/>
                </a:solidFill>
                <a:latin typeface="Arial" charset="0"/>
                <a:cs typeface="Arial" charset="0"/>
              </a:defRPr>
            </a:lvl4pPr>
            <a:lvl5pPr marL="2057400" indent="-228600" defTabSz="957263" eaLnBrk="0" hangingPunct="0">
              <a:defRPr>
                <a:solidFill>
                  <a:schemeClr val="tx1"/>
                </a:solidFill>
                <a:latin typeface="Arial" charset="0"/>
                <a:cs typeface="Arial" charset="0"/>
              </a:defRPr>
            </a:lvl5pPr>
            <a:lvl6pPr marL="2514600" indent="-228600" defTabSz="957263" eaLnBrk="0" fontAlgn="base" hangingPunct="0">
              <a:spcBef>
                <a:spcPct val="0"/>
              </a:spcBef>
              <a:spcAft>
                <a:spcPct val="0"/>
              </a:spcAft>
              <a:defRPr>
                <a:solidFill>
                  <a:schemeClr val="tx1"/>
                </a:solidFill>
                <a:latin typeface="Arial" charset="0"/>
                <a:cs typeface="Arial" charset="0"/>
              </a:defRPr>
            </a:lvl6pPr>
            <a:lvl7pPr marL="2971800" indent="-228600" defTabSz="957263" eaLnBrk="0" fontAlgn="base" hangingPunct="0">
              <a:spcBef>
                <a:spcPct val="0"/>
              </a:spcBef>
              <a:spcAft>
                <a:spcPct val="0"/>
              </a:spcAft>
              <a:defRPr>
                <a:solidFill>
                  <a:schemeClr val="tx1"/>
                </a:solidFill>
                <a:latin typeface="Arial" charset="0"/>
                <a:cs typeface="Arial" charset="0"/>
              </a:defRPr>
            </a:lvl7pPr>
            <a:lvl8pPr marL="3429000" indent="-228600" defTabSz="957263" eaLnBrk="0" fontAlgn="base" hangingPunct="0">
              <a:spcBef>
                <a:spcPct val="0"/>
              </a:spcBef>
              <a:spcAft>
                <a:spcPct val="0"/>
              </a:spcAft>
              <a:defRPr>
                <a:solidFill>
                  <a:schemeClr val="tx1"/>
                </a:solidFill>
                <a:latin typeface="Arial" charset="0"/>
                <a:cs typeface="Arial" charset="0"/>
              </a:defRPr>
            </a:lvl8pPr>
            <a:lvl9pPr marL="3886200" indent="-228600" defTabSz="957263"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400" b="1" dirty="0">
                <a:solidFill>
                  <a:schemeClr val="bg1"/>
                </a:solidFill>
                <a:latin typeface="+mn-lt"/>
              </a:rPr>
              <a:t>Liabilities + Shareholders’ Equity</a:t>
            </a:r>
          </a:p>
        </p:txBody>
      </p:sp>
      <p:sp>
        <p:nvSpPr>
          <p:cNvPr id="20" name="Left Brace 19">
            <a:extLst>
              <a:ext uri="{FF2B5EF4-FFF2-40B4-BE49-F238E27FC236}">
                <a16:creationId xmlns:a16="http://schemas.microsoft.com/office/drawing/2014/main" id="{5110743A-2623-4182-97C8-3F8584D04ECC}"/>
              </a:ext>
            </a:extLst>
          </p:cNvPr>
          <p:cNvSpPr/>
          <p:nvPr/>
        </p:nvSpPr>
        <p:spPr>
          <a:xfrm>
            <a:off x="2416416" y="2315848"/>
            <a:ext cx="253178" cy="319510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59AE4CB5-5F8D-4310-BCF2-1B36EFB5D27D}"/>
              </a:ext>
            </a:extLst>
          </p:cNvPr>
          <p:cNvSpPr txBox="1"/>
          <p:nvPr/>
        </p:nvSpPr>
        <p:spPr>
          <a:xfrm>
            <a:off x="1037999" y="3590237"/>
            <a:ext cx="1350284" cy="646331"/>
          </a:xfrm>
          <a:prstGeom prst="rect">
            <a:avLst/>
          </a:prstGeom>
          <a:noFill/>
        </p:spPr>
        <p:txBody>
          <a:bodyPr wrap="square" rtlCol="0" anchor="ctr">
            <a:spAutoFit/>
          </a:bodyPr>
          <a:lstStyle/>
          <a:p>
            <a:pPr algn="ctr"/>
            <a:r>
              <a:rPr lang="en-US" sz="1200" dirty="0"/>
              <a:t>Where the money is going to</a:t>
            </a:r>
          </a:p>
        </p:txBody>
      </p:sp>
      <p:sp>
        <p:nvSpPr>
          <p:cNvPr id="23" name="TextBox 22">
            <a:extLst>
              <a:ext uri="{FF2B5EF4-FFF2-40B4-BE49-F238E27FC236}">
                <a16:creationId xmlns:a16="http://schemas.microsoft.com/office/drawing/2014/main" id="{F1C482BE-3925-4238-8E9D-1C9B5D109E34}"/>
              </a:ext>
            </a:extLst>
          </p:cNvPr>
          <p:cNvSpPr txBox="1"/>
          <p:nvPr/>
        </p:nvSpPr>
        <p:spPr>
          <a:xfrm>
            <a:off x="9979273" y="3622894"/>
            <a:ext cx="1350284" cy="646331"/>
          </a:xfrm>
          <a:prstGeom prst="rect">
            <a:avLst/>
          </a:prstGeom>
          <a:noFill/>
        </p:spPr>
        <p:txBody>
          <a:bodyPr wrap="square" rtlCol="0">
            <a:spAutoFit/>
          </a:bodyPr>
          <a:lstStyle/>
          <a:p>
            <a:pPr algn="ctr"/>
            <a:r>
              <a:rPr lang="en-US" sz="1200" dirty="0"/>
              <a:t>Where the money is coming from</a:t>
            </a:r>
          </a:p>
        </p:txBody>
      </p:sp>
      <p:sp>
        <p:nvSpPr>
          <p:cNvPr id="24" name="Left Brace 23">
            <a:extLst>
              <a:ext uri="{FF2B5EF4-FFF2-40B4-BE49-F238E27FC236}">
                <a16:creationId xmlns:a16="http://schemas.microsoft.com/office/drawing/2014/main" id="{07AE7665-51E6-404B-9943-2CB86526A5A9}"/>
              </a:ext>
            </a:extLst>
          </p:cNvPr>
          <p:cNvSpPr/>
          <p:nvPr/>
        </p:nvSpPr>
        <p:spPr>
          <a:xfrm rot="10800000">
            <a:off x="9540577" y="2348506"/>
            <a:ext cx="302405" cy="319510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F5658A60-BE4B-4C97-B3B4-55B90C83C79A}"/>
              </a:ext>
            </a:extLst>
          </p:cNvPr>
          <p:cNvSpPr/>
          <p:nvPr/>
        </p:nvSpPr>
        <p:spPr bwMode="auto">
          <a:xfrm>
            <a:off x="3048483" y="3726581"/>
            <a:ext cx="2616177" cy="685800"/>
          </a:xfrm>
          <a:prstGeom prst="rect">
            <a:avLst/>
          </a:prstGeom>
          <a:solidFill>
            <a:schemeClr val="bg1"/>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GB" sz="1400" dirty="0">
                <a:cs typeface="Times New Roman" pitchFamily="18" charset="0"/>
              </a:rPr>
              <a:t>Fixed Assets</a:t>
            </a:r>
          </a:p>
        </p:txBody>
      </p:sp>
      <p:sp>
        <p:nvSpPr>
          <p:cNvPr id="26" name="Rectangle 25">
            <a:extLst>
              <a:ext uri="{FF2B5EF4-FFF2-40B4-BE49-F238E27FC236}">
                <a16:creationId xmlns:a16="http://schemas.microsoft.com/office/drawing/2014/main" id="{2F453C2C-E0BD-4604-BC8A-A924327D2264}"/>
              </a:ext>
            </a:extLst>
          </p:cNvPr>
          <p:cNvSpPr/>
          <p:nvPr/>
        </p:nvSpPr>
        <p:spPr bwMode="auto">
          <a:xfrm>
            <a:off x="3048483" y="2797100"/>
            <a:ext cx="2616177" cy="685800"/>
          </a:xfrm>
          <a:prstGeom prst="rect">
            <a:avLst/>
          </a:prstGeom>
          <a:solidFill>
            <a:schemeClr val="bg1"/>
          </a:solidFill>
          <a:ln>
            <a:no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1400" kern="1200" dirty="0">
                <a:ea typeface="+mn-ea"/>
                <a:cs typeface="Times New Roman" pitchFamily="18" charset="0"/>
              </a:rPr>
              <a:t>Current asset</a:t>
            </a:r>
          </a:p>
        </p:txBody>
      </p:sp>
      <p:sp>
        <p:nvSpPr>
          <p:cNvPr id="27" name="Rectangle 26">
            <a:extLst>
              <a:ext uri="{FF2B5EF4-FFF2-40B4-BE49-F238E27FC236}">
                <a16:creationId xmlns:a16="http://schemas.microsoft.com/office/drawing/2014/main" id="{6BA36670-8AB2-43D5-BE8F-F19906448082}"/>
              </a:ext>
            </a:extLst>
          </p:cNvPr>
          <p:cNvSpPr/>
          <p:nvPr/>
        </p:nvSpPr>
        <p:spPr bwMode="auto">
          <a:xfrm>
            <a:off x="3048483" y="4656062"/>
            <a:ext cx="2616177" cy="685800"/>
          </a:xfrm>
          <a:prstGeom prst="rect">
            <a:avLst/>
          </a:prstGeom>
          <a:solidFill>
            <a:schemeClr val="bg1"/>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GB" sz="1400" dirty="0">
                <a:cs typeface="Times New Roman" pitchFamily="18" charset="0"/>
              </a:rPr>
              <a:t>Intangible Assets</a:t>
            </a:r>
          </a:p>
        </p:txBody>
      </p:sp>
      <p:sp>
        <p:nvSpPr>
          <p:cNvPr id="28" name="Rectangle 27">
            <a:extLst>
              <a:ext uri="{FF2B5EF4-FFF2-40B4-BE49-F238E27FC236}">
                <a16:creationId xmlns:a16="http://schemas.microsoft.com/office/drawing/2014/main" id="{6188596B-A953-43B9-8C55-09AF8DF1A119}"/>
              </a:ext>
            </a:extLst>
          </p:cNvPr>
          <p:cNvSpPr/>
          <p:nvPr/>
        </p:nvSpPr>
        <p:spPr bwMode="auto">
          <a:xfrm>
            <a:off x="6601772" y="3759239"/>
            <a:ext cx="2616177" cy="685800"/>
          </a:xfrm>
          <a:prstGeom prst="rect">
            <a:avLst/>
          </a:prstGeom>
          <a:solidFill>
            <a:schemeClr val="bg1"/>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GB" sz="1400" dirty="0">
                <a:cs typeface="Times New Roman" pitchFamily="18" charset="0"/>
              </a:rPr>
              <a:t>Long-term Liabilities</a:t>
            </a:r>
          </a:p>
        </p:txBody>
      </p:sp>
      <p:sp>
        <p:nvSpPr>
          <p:cNvPr id="29" name="Rectangle 28">
            <a:extLst>
              <a:ext uri="{FF2B5EF4-FFF2-40B4-BE49-F238E27FC236}">
                <a16:creationId xmlns:a16="http://schemas.microsoft.com/office/drawing/2014/main" id="{D8175C12-AC70-478D-B24E-F3E243656DCC}"/>
              </a:ext>
            </a:extLst>
          </p:cNvPr>
          <p:cNvSpPr/>
          <p:nvPr/>
        </p:nvSpPr>
        <p:spPr bwMode="auto">
          <a:xfrm>
            <a:off x="6601772" y="2829758"/>
            <a:ext cx="2616177" cy="685800"/>
          </a:xfrm>
          <a:prstGeom prst="rect">
            <a:avLst/>
          </a:prstGeom>
          <a:solidFill>
            <a:schemeClr val="bg1"/>
          </a:solidFill>
          <a:ln>
            <a:no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1400" kern="1200" dirty="0">
                <a:ea typeface="+mn-ea"/>
                <a:cs typeface="Times New Roman" pitchFamily="18" charset="0"/>
              </a:rPr>
              <a:t>Current liabilities</a:t>
            </a:r>
          </a:p>
        </p:txBody>
      </p:sp>
      <p:sp>
        <p:nvSpPr>
          <p:cNvPr id="30" name="Rectangle 29">
            <a:extLst>
              <a:ext uri="{FF2B5EF4-FFF2-40B4-BE49-F238E27FC236}">
                <a16:creationId xmlns:a16="http://schemas.microsoft.com/office/drawing/2014/main" id="{9C4CC9DC-58D9-409E-9389-D5D40EC90E61}"/>
              </a:ext>
            </a:extLst>
          </p:cNvPr>
          <p:cNvSpPr/>
          <p:nvPr/>
        </p:nvSpPr>
        <p:spPr bwMode="auto">
          <a:xfrm>
            <a:off x="6601772" y="4688720"/>
            <a:ext cx="2616177" cy="685800"/>
          </a:xfrm>
          <a:prstGeom prst="rect">
            <a:avLst/>
          </a:prstGeom>
          <a:solidFill>
            <a:schemeClr val="bg1"/>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GB" sz="1400" dirty="0">
                <a:cs typeface="Times New Roman" pitchFamily="18" charset="0"/>
              </a:rPr>
              <a:t>Shareholder’s Equity &amp; Retained Earnings</a:t>
            </a:r>
          </a:p>
        </p:txBody>
      </p:sp>
    </p:spTree>
    <p:extLst>
      <p:ext uri="{BB962C8B-B14F-4D97-AF65-F5344CB8AC3E}">
        <p14:creationId xmlns:p14="http://schemas.microsoft.com/office/powerpoint/2010/main" val="3780393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 Sheet Statement</a:t>
            </a:r>
            <a:br>
              <a:rPr lang="en-US" sz="2400" kern="0" dirty="0"/>
            </a:br>
            <a:r>
              <a:rPr lang="en-GB" sz="2400" b="0" kern="0" dirty="0"/>
              <a:t>For more details about the Balance Sheet Statement, open the Excel document “Balance Sheet”</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pic>
        <p:nvPicPr>
          <p:cNvPr id="8" name="Picture 7">
            <a:extLst>
              <a:ext uri="{FF2B5EF4-FFF2-40B4-BE49-F238E27FC236}">
                <a16:creationId xmlns:a16="http://schemas.microsoft.com/office/drawing/2014/main" id="{4CEB9CB3-5DE1-410A-AF19-FA33389BE8EF}"/>
              </a:ext>
            </a:extLst>
          </p:cNvPr>
          <p:cNvPicPr>
            <a:picLocks noChangeAspect="1"/>
          </p:cNvPicPr>
          <p:nvPr/>
        </p:nvPicPr>
        <p:blipFill>
          <a:blip r:embed="rId6"/>
          <a:stretch>
            <a:fillRect/>
          </a:stretch>
        </p:blipFill>
        <p:spPr>
          <a:xfrm>
            <a:off x="2864526" y="2239965"/>
            <a:ext cx="6462948" cy="3849770"/>
          </a:xfrm>
          <a:prstGeom prst="rect">
            <a:avLst/>
          </a:prstGeom>
          <a:ln>
            <a:noFill/>
          </a:ln>
          <a:effectLst>
            <a:outerShdw blurRad="50800" dist="38100" dir="5400000" algn="t" rotWithShape="0">
              <a:prstClr val="black">
                <a:alpha val="40000"/>
              </a:prstClr>
            </a:outerShdw>
          </a:effectLst>
        </p:spPr>
      </p:pic>
      <p:pic>
        <p:nvPicPr>
          <p:cNvPr id="2" name="Picture 6" descr="Download Microsoft Excel Logo in SVG Vector or PNG File Format - Logo.wine">
            <a:extLst>
              <a:ext uri="{FF2B5EF4-FFF2-40B4-BE49-F238E27FC236}">
                <a16:creationId xmlns:a16="http://schemas.microsoft.com/office/drawing/2014/main" id="{36B637AB-B466-BC63-98FB-40913ABCD7E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61338" y="1862541"/>
            <a:ext cx="1132272" cy="754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9813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Table of content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7" name="Text Placeholder 2">
            <a:extLst>
              <a:ext uri="{FF2B5EF4-FFF2-40B4-BE49-F238E27FC236}">
                <a16:creationId xmlns:a16="http://schemas.microsoft.com/office/drawing/2014/main" id="{7DC63F23-A1E1-AB6A-4F55-0603299770B4}"/>
              </a:ext>
            </a:extLst>
          </p:cNvPr>
          <p:cNvSpPr txBox="1">
            <a:spLocks/>
          </p:cNvSpPr>
          <p:nvPr/>
        </p:nvSpPr>
        <p:spPr>
          <a:xfrm>
            <a:off x="626012" y="1765121"/>
            <a:ext cx="6889213" cy="2092881"/>
          </a:xfrm>
          <a:prstGeom prst="rect">
            <a:avLst/>
          </a:prstGeom>
        </p:spPr>
        <p:txBody>
          <a:bodyPr vert="horz" wrap="square" lIns="91440" tIns="45720" rIns="91440" bIns="45720" rtlCol="0">
            <a:spAutoFit/>
          </a:bodyPr>
          <a:lst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4013" indent="-239713">
              <a:lnSpc>
                <a:spcPct val="100000"/>
              </a:lnSpc>
              <a:spcBef>
                <a:spcPts val="600"/>
              </a:spcBef>
              <a:spcAft>
                <a:spcPts val="600"/>
              </a:spcAft>
              <a:buFont typeface="+mj-lt"/>
              <a:buAutoNum type="arabicPeriod"/>
              <a:defRPr/>
            </a:pPr>
            <a:r>
              <a:rPr lang="en-GB" sz="1800" b="1" dirty="0">
                <a:solidFill>
                  <a:schemeClr val="accent1"/>
                </a:solidFill>
              </a:rPr>
              <a:t>Financial analysis</a:t>
            </a:r>
          </a:p>
          <a:p>
            <a:pPr marL="354013" indent="-239713">
              <a:lnSpc>
                <a:spcPct val="100000"/>
              </a:lnSpc>
              <a:spcBef>
                <a:spcPts val="600"/>
              </a:spcBef>
              <a:spcAft>
                <a:spcPts val="600"/>
              </a:spcAft>
              <a:buFont typeface="+mj-lt"/>
              <a:buAutoNum type="arabicPeriod"/>
              <a:defRPr/>
            </a:pPr>
            <a:r>
              <a:rPr lang="en-GB" sz="1800" b="1" dirty="0">
                <a:solidFill>
                  <a:schemeClr val="accent1"/>
                </a:solidFill>
              </a:rPr>
              <a:t>Income statement</a:t>
            </a:r>
          </a:p>
          <a:p>
            <a:pPr marL="354013" indent="-239713">
              <a:lnSpc>
                <a:spcPct val="100000"/>
              </a:lnSpc>
              <a:spcBef>
                <a:spcPts val="600"/>
              </a:spcBef>
              <a:spcAft>
                <a:spcPts val="600"/>
              </a:spcAft>
              <a:buFont typeface="+mj-lt"/>
              <a:buAutoNum type="arabicPeriod"/>
              <a:defRPr/>
            </a:pPr>
            <a:r>
              <a:rPr lang="en-GB" sz="1800" b="1" dirty="0">
                <a:solidFill>
                  <a:schemeClr val="accent1"/>
                </a:solidFill>
              </a:rPr>
              <a:t>Balance sheet statement</a:t>
            </a:r>
          </a:p>
          <a:p>
            <a:pPr marL="354013" indent="-239713">
              <a:lnSpc>
                <a:spcPct val="100000"/>
              </a:lnSpc>
              <a:spcBef>
                <a:spcPts val="600"/>
              </a:spcBef>
              <a:spcAft>
                <a:spcPts val="600"/>
              </a:spcAft>
              <a:buFont typeface="+mj-lt"/>
              <a:buAutoNum type="arabicPeriod"/>
              <a:defRPr/>
            </a:pPr>
            <a:r>
              <a:rPr lang="en-GB" sz="1800" b="1" dirty="0">
                <a:solidFill>
                  <a:schemeClr val="accent2"/>
                </a:solidFill>
              </a:rPr>
              <a:t>Cash flow statement</a:t>
            </a:r>
          </a:p>
          <a:p>
            <a:pPr marL="354013" indent="-239713">
              <a:lnSpc>
                <a:spcPct val="100000"/>
              </a:lnSpc>
              <a:spcBef>
                <a:spcPts val="600"/>
              </a:spcBef>
              <a:spcAft>
                <a:spcPts val="600"/>
              </a:spcAft>
              <a:buFont typeface="+mj-lt"/>
              <a:buAutoNum type="arabicPeriod"/>
              <a:defRPr/>
            </a:pPr>
            <a:r>
              <a:rPr lang="en-GB" sz="1800" b="1" dirty="0">
                <a:solidFill>
                  <a:schemeClr val="tx1"/>
                </a:solidFill>
              </a:rPr>
              <a:t>Link between the 3 financial statements</a:t>
            </a:r>
          </a:p>
        </p:txBody>
      </p:sp>
      <p:sp>
        <p:nvSpPr>
          <p:cNvPr id="8" name="Rectangle 7">
            <a:extLst>
              <a:ext uri="{FF2B5EF4-FFF2-40B4-BE49-F238E27FC236}">
                <a16:creationId xmlns:a16="http://schemas.microsoft.com/office/drawing/2014/main" id="{A263BA67-2716-FEDA-5C48-045774306E4B}"/>
              </a:ext>
            </a:extLst>
          </p:cNvPr>
          <p:cNvSpPr/>
          <p:nvPr/>
        </p:nvSpPr>
        <p:spPr>
          <a:xfrm>
            <a:off x="631874" y="1792016"/>
            <a:ext cx="145365" cy="19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482532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ash Flow Statement</a:t>
            </a:r>
            <a:br>
              <a:rPr lang="en-US" sz="2400" kern="0" dirty="0"/>
            </a:br>
            <a:r>
              <a:rPr lang="en-US" sz="2400" b="0" kern="0" dirty="0"/>
              <a:t>Purpos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 name="Rectangle: Folded Corner 1">
            <a:extLst>
              <a:ext uri="{FF2B5EF4-FFF2-40B4-BE49-F238E27FC236}">
                <a16:creationId xmlns:a16="http://schemas.microsoft.com/office/drawing/2014/main" id="{C8042D7C-02C6-41CC-9707-C9C5F6FA269D}"/>
              </a:ext>
            </a:extLst>
          </p:cNvPr>
          <p:cNvSpPr/>
          <p:nvPr/>
        </p:nvSpPr>
        <p:spPr>
          <a:xfrm>
            <a:off x="4308764" y="2253237"/>
            <a:ext cx="3574472" cy="3763099"/>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Isosceles Triangle 20">
            <a:extLst>
              <a:ext uri="{FF2B5EF4-FFF2-40B4-BE49-F238E27FC236}">
                <a16:creationId xmlns:a16="http://schemas.microsoft.com/office/drawing/2014/main" id="{0BEBB444-0AAC-4415-AD72-D9E834A2A1CF}"/>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2" name="Oval 21">
            <a:extLst>
              <a:ext uri="{FF2B5EF4-FFF2-40B4-BE49-F238E27FC236}">
                <a16:creationId xmlns:a16="http://schemas.microsoft.com/office/drawing/2014/main" id="{9451C740-A260-4E73-93AE-9A3732F37470}"/>
              </a:ext>
            </a:extLst>
          </p:cNvPr>
          <p:cNvSpPr/>
          <p:nvPr/>
        </p:nvSpPr>
        <p:spPr bwMode="auto">
          <a:xfrm>
            <a:off x="6088650" y="1957867"/>
            <a:ext cx="182881" cy="182881"/>
          </a:xfrm>
          <a:prstGeom prst="ellipse">
            <a:avLst/>
          </a:prstGeom>
          <a:gradFill flip="none" rotWithShape="1">
            <a:gsLst>
              <a:gs pos="40000">
                <a:schemeClr val="tx1"/>
              </a:gs>
              <a:gs pos="100000">
                <a:schemeClr val="bg1">
                  <a:lumMod val="85000"/>
                  <a:shade val="100000"/>
                  <a:satMod val="115000"/>
                </a:schemeClr>
              </a:gs>
            </a:gsLst>
            <a:path path="circle">
              <a:fillToRect l="100000" t="100000"/>
            </a:path>
            <a:tileRect r="-100000" b="-100000"/>
          </a:gra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4528487" y="2574245"/>
            <a:ext cx="3135027" cy="3170099"/>
          </a:xfrm>
          <a:prstGeom prst="rect">
            <a:avLst/>
          </a:prstGeom>
          <a:noFill/>
        </p:spPr>
        <p:txBody>
          <a:bodyPr wrap="square" rtlCol="0">
            <a:spAutoFit/>
          </a:bodyPr>
          <a:lstStyle/>
          <a:p>
            <a:pPr>
              <a:spcBef>
                <a:spcPts val="400"/>
              </a:spcBef>
              <a:spcAft>
                <a:spcPts val="400"/>
              </a:spcAft>
            </a:pPr>
            <a:r>
              <a:rPr lang="en-US" sz="2000" b="1" dirty="0"/>
              <a:t>The cash flow statement is a financial statement that summarizes all cash inflows a company receives, as well as cash outflows that pay for business activities and investment during a period of time (usually a fiscal quarter or year)</a:t>
            </a:r>
          </a:p>
        </p:txBody>
      </p:sp>
    </p:spTree>
    <p:extLst>
      <p:ext uri="{BB962C8B-B14F-4D97-AF65-F5344CB8AC3E}">
        <p14:creationId xmlns:p14="http://schemas.microsoft.com/office/powerpoint/2010/main" val="21650749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ash Flow Statement</a:t>
            </a:r>
            <a:br>
              <a:rPr lang="en-US" sz="2400" kern="0" dirty="0"/>
            </a:br>
            <a:r>
              <a:rPr lang="en-US" sz="2400" b="0" kern="0" dirty="0"/>
              <a:t>Descrip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grpSp>
        <p:nvGrpSpPr>
          <p:cNvPr id="9" name="Group 50">
            <a:extLst>
              <a:ext uri="{FF2B5EF4-FFF2-40B4-BE49-F238E27FC236}">
                <a16:creationId xmlns:a16="http://schemas.microsoft.com/office/drawing/2014/main" id="{90BFDD06-ECCC-4DCF-A2A1-0D4C5467DFF2}"/>
              </a:ext>
            </a:extLst>
          </p:cNvPr>
          <p:cNvGrpSpPr>
            <a:grpSpLocks/>
          </p:cNvGrpSpPr>
          <p:nvPr/>
        </p:nvGrpSpPr>
        <p:grpSpPr bwMode="auto">
          <a:xfrm>
            <a:off x="3584864" y="1659925"/>
            <a:ext cx="5022272" cy="4832950"/>
            <a:chOff x="396875" y="3586120"/>
            <a:chExt cx="2509838" cy="2512561"/>
          </a:xfrm>
        </p:grpSpPr>
        <p:sp>
          <p:nvSpPr>
            <p:cNvPr id="10" name="Freeform 15">
              <a:extLst>
                <a:ext uri="{FF2B5EF4-FFF2-40B4-BE49-F238E27FC236}">
                  <a16:creationId xmlns:a16="http://schemas.microsoft.com/office/drawing/2014/main" id="{F1039EAB-5821-45F0-87A5-A0E25872BC21}"/>
                </a:ext>
              </a:extLst>
            </p:cNvPr>
            <p:cNvSpPr>
              <a:spLocks/>
            </p:cNvSpPr>
            <p:nvPr/>
          </p:nvSpPr>
          <p:spPr bwMode="blackWhite">
            <a:xfrm>
              <a:off x="547688" y="3586120"/>
              <a:ext cx="1308100" cy="1117399"/>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tx2">
                <a:lumMod val="60000"/>
                <a:lumOff val="40000"/>
              </a:schemeClr>
            </a:solidFill>
            <a:ln w="12700" cap="rnd">
              <a:noFill/>
              <a:round/>
              <a:headEnd/>
              <a:tailEnd/>
            </a:ln>
          </p:spPr>
          <p:txBody>
            <a:bodyPr/>
            <a:lstStyle/>
            <a:p>
              <a:pPr fontAlgn="auto">
                <a:spcBef>
                  <a:spcPts val="0"/>
                </a:spcBef>
                <a:spcAft>
                  <a:spcPts val="0"/>
                </a:spcAft>
                <a:defRPr/>
              </a:pPr>
              <a:endParaRPr lang="en-GB" sz="1200" dirty="0">
                <a:solidFill>
                  <a:schemeClr val="bg1"/>
                </a:solidFill>
                <a:latin typeface="+mn-lt"/>
                <a:cs typeface="+mn-cs"/>
              </a:endParaRPr>
            </a:p>
          </p:txBody>
        </p:sp>
        <p:sp>
          <p:nvSpPr>
            <p:cNvPr id="11" name="Freeform 16">
              <a:extLst>
                <a:ext uri="{FF2B5EF4-FFF2-40B4-BE49-F238E27FC236}">
                  <a16:creationId xmlns:a16="http://schemas.microsoft.com/office/drawing/2014/main" id="{7EC61F84-9A69-43D3-A803-44923A181C13}"/>
                </a:ext>
              </a:extLst>
            </p:cNvPr>
            <p:cNvSpPr>
              <a:spLocks/>
            </p:cNvSpPr>
            <p:nvPr/>
          </p:nvSpPr>
          <p:spPr bwMode="blackWhite">
            <a:xfrm>
              <a:off x="1422400" y="4974933"/>
              <a:ext cx="1277938" cy="1123748"/>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tx1">
                <a:lumMod val="25000"/>
                <a:lumOff val="75000"/>
              </a:schemeClr>
            </a:solidFill>
            <a:ln w="12700" cap="rnd">
              <a:noFill/>
              <a:round/>
              <a:headEnd/>
              <a:tailEnd/>
            </a:ln>
          </p:spPr>
          <p:txBody>
            <a:bodyPr/>
            <a:lstStyle/>
            <a:p>
              <a:pPr fontAlgn="auto">
                <a:spcBef>
                  <a:spcPts val="0"/>
                </a:spcBef>
                <a:spcAft>
                  <a:spcPts val="0"/>
                </a:spcAft>
                <a:defRPr/>
              </a:pPr>
              <a:endParaRPr lang="en-GB" sz="1200" dirty="0">
                <a:latin typeface="+mn-lt"/>
                <a:cs typeface="+mn-cs"/>
              </a:endParaRPr>
            </a:p>
          </p:txBody>
        </p:sp>
        <p:sp>
          <p:nvSpPr>
            <p:cNvPr id="12" name="Freeform 17">
              <a:extLst>
                <a:ext uri="{FF2B5EF4-FFF2-40B4-BE49-F238E27FC236}">
                  <a16:creationId xmlns:a16="http://schemas.microsoft.com/office/drawing/2014/main" id="{32493E82-CE88-454C-8015-6A7138B4A90E}"/>
                </a:ext>
              </a:extLst>
            </p:cNvPr>
            <p:cNvSpPr>
              <a:spLocks/>
            </p:cNvSpPr>
            <p:nvPr/>
          </p:nvSpPr>
          <p:spPr bwMode="blackWhite">
            <a:xfrm>
              <a:off x="396875" y="4567019"/>
              <a:ext cx="1150938" cy="133484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tx2">
                <a:lumMod val="40000"/>
                <a:lumOff val="60000"/>
              </a:schemeClr>
            </a:solidFill>
            <a:ln w="12700" cap="rnd">
              <a:noFill/>
              <a:round/>
              <a:headEnd/>
              <a:tailEnd/>
            </a:ln>
          </p:spPr>
          <p:txBody>
            <a:bodyPr/>
            <a:lstStyle/>
            <a:p>
              <a:pPr fontAlgn="auto">
                <a:spcBef>
                  <a:spcPts val="0"/>
                </a:spcBef>
                <a:spcAft>
                  <a:spcPts val="0"/>
                </a:spcAft>
                <a:defRPr/>
              </a:pPr>
              <a:endParaRPr lang="en-GB" sz="1200" dirty="0">
                <a:solidFill>
                  <a:schemeClr val="bg1"/>
                </a:solidFill>
                <a:latin typeface="+mn-lt"/>
                <a:cs typeface="+mn-cs"/>
              </a:endParaRPr>
            </a:p>
          </p:txBody>
        </p:sp>
        <p:sp>
          <p:nvSpPr>
            <p:cNvPr id="14" name="Freeform 18">
              <a:extLst>
                <a:ext uri="{FF2B5EF4-FFF2-40B4-BE49-F238E27FC236}">
                  <a16:creationId xmlns:a16="http://schemas.microsoft.com/office/drawing/2014/main" id="{F5F21B7D-1CC7-4A9A-9015-B1B43857CB74}"/>
                </a:ext>
              </a:extLst>
            </p:cNvPr>
            <p:cNvSpPr>
              <a:spLocks/>
            </p:cNvSpPr>
            <p:nvPr/>
          </p:nvSpPr>
          <p:spPr bwMode="blackWhite">
            <a:xfrm>
              <a:off x="1739900" y="3753944"/>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tx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endParaRPr lang="en-US" sz="2000" dirty="0"/>
            </a:p>
          </p:txBody>
        </p:sp>
        <p:sp>
          <p:nvSpPr>
            <p:cNvPr id="15" name="Rectangle 36">
              <a:extLst>
                <a:ext uri="{FF2B5EF4-FFF2-40B4-BE49-F238E27FC236}">
                  <a16:creationId xmlns:a16="http://schemas.microsoft.com/office/drawing/2014/main" id="{E7C79ED0-0D9C-4932-BED2-14D9AEC7EFB6}"/>
                </a:ext>
              </a:extLst>
            </p:cNvPr>
            <p:cNvSpPr>
              <a:spLocks noChangeArrowheads="1"/>
            </p:cNvSpPr>
            <p:nvPr/>
          </p:nvSpPr>
          <p:spPr bwMode="blackWhite">
            <a:xfrm>
              <a:off x="2009775" y="4270243"/>
              <a:ext cx="514350" cy="212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p>
              <a:pPr algn="ctr" defTabSz="787400">
                <a:lnSpc>
                  <a:spcPct val="95000"/>
                </a:lnSpc>
                <a:spcBef>
                  <a:spcPct val="80000"/>
                </a:spcBef>
                <a:buClr>
                  <a:schemeClr val="tx1"/>
                </a:buClr>
              </a:pPr>
              <a:r>
                <a:rPr lang="en-US" sz="1400" b="1" dirty="0">
                  <a:solidFill>
                    <a:schemeClr val="bg1"/>
                  </a:solidFill>
                </a:rPr>
                <a:t>Sources of cash</a:t>
              </a:r>
            </a:p>
          </p:txBody>
        </p:sp>
        <p:sp>
          <p:nvSpPr>
            <p:cNvPr id="17" name="Rectangle 48">
              <a:extLst>
                <a:ext uri="{FF2B5EF4-FFF2-40B4-BE49-F238E27FC236}">
                  <a16:creationId xmlns:a16="http://schemas.microsoft.com/office/drawing/2014/main" id="{0A9D166C-001C-4B84-8780-9CD1BE2C0061}"/>
                </a:ext>
              </a:extLst>
            </p:cNvPr>
            <p:cNvSpPr>
              <a:spLocks noChangeArrowheads="1"/>
            </p:cNvSpPr>
            <p:nvPr/>
          </p:nvSpPr>
          <p:spPr bwMode="blackWhite">
            <a:xfrm>
              <a:off x="973272" y="4041643"/>
              <a:ext cx="561841" cy="212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1">
              <a:spAutoFit/>
            </a:bodyPr>
            <a:lstStyle/>
            <a:p>
              <a:pPr algn="ctr" defTabSz="787400">
                <a:lnSpc>
                  <a:spcPct val="95000"/>
                </a:lnSpc>
                <a:spcBef>
                  <a:spcPct val="80000"/>
                </a:spcBef>
                <a:buClr>
                  <a:schemeClr val="tx1"/>
                </a:buClr>
              </a:pPr>
              <a:r>
                <a:rPr lang="en-US" sz="1400" b="1" dirty="0">
                  <a:solidFill>
                    <a:schemeClr val="bg1"/>
                  </a:solidFill>
                </a:rPr>
                <a:t>Starting cash position</a:t>
              </a:r>
            </a:p>
          </p:txBody>
        </p:sp>
        <p:sp>
          <p:nvSpPr>
            <p:cNvPr id="18" name="Rectangle 49">
              <a:extLst>
                <a:ext uri="{FF2B5EF4-FFF2-40B4-BE49-F238E27FC236}">
                  <a16:creationId xmlns:a16="http://schemas.microsoft.com/office/drawing/2014/main" id="{D0EAA723-E7A6-47D4-9F5F-8D2160F80155}"/>
                </a:ext>
              </a:extLst>
            </p:cNvPr>
            <p:cNvSpPr>
              <a:spLocks noChangeArrowheads="1"/>
            </p:cNvSpPr>
            <p:nvPr/>
          </p:nvSpPr>
          <p:spPr bwMode="blackWhite">
            <a:xfrm>
              <a:off x="714375" y="5131441"/>
              <a:ext cx="515938" cy="319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p>
              <a:pPr algn="ctr" defTabSz="787400">
                <a:lnSpc>
                  <a:spcPct val="95000"/>
                </a:lnSpc>
                <a:spcBef>
                  <a:spcPct val="80000"/>
                </a:spcBef>
                <a:buClr>
                  <a:schemeClr val="tx1"/>
                </a:buClr>
              </a:pPr>
              <a:r>
                <a:rPr lang="en-US" sz="1400" b="1" dirty="0">
                  <a:solidFill>
                    <a:schemeClr val="bg1"/>
                  </a:solidFill>
                </a:rPr>
                <a:t>Closing Cash Position</a:t>
              </a:r>
            </a:p>
          </p:txBody>
        </p:sp>
        <p:sp>
          <p:nvSpPr>
            <p:cNvPr id="19" name="Rectangle 50">
              <a:extLst>
                <a:ext uri="{FF2B5EF4-FFF2-40B4-BE49-F238E27FC236}">
                  <a16:creationId xmlns:a16="http://schemas.microsoft.com/office/drawing/2014/main" id="{B2DCF493-8318-4EB7-8F1D-06BA1B72F31C}"/>
                </a:ext>
              </a:extLst>
            </p:cNvPr>
            <p:cNvSpPr>
              <a:spLocks noChangeArrowheads="1"/>
            </p:cNvSpPr>
            <p:nvPr/>
          </p:nvSpPr>
          <p:spPr bwMode="blackWhite">
            <a:xfrm>
              <a:off x="1781175" y="5413241"/>
              <a:ext cx="515938" cy="212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p>
              <a:pPr algn="ctr" defTabSz="787400">
                <a:lnSpc>
                  <a:spcPct val="95000"/>
                </a:lnSpc>
                <a:spcBef>
                  <a:spcPct val="80000"/>
                </a:spcBef>
                <a:buClr>
                  <a:schemeClr val="tx1"/>
                </a:buClr>
              </a:pPr>
              <a:r>
                <a:rPr lang="en-US" sz="1400" b="1" dirty="0">
                  <a:solidFill>
                    <a:schemeClr val="bg1"/>
                  </a:solidFill>
                </a:rPr>
                <a:t>Uses of cash</a:t>
              </a:r>
            </a:p>
          </p:txBody>
        </p:sp>
      </p:grpSp>
      <p:sp>
        <p:nvSpPr>
          <p:cNvPr id="20" name="Oval 19">
            <a:extLst>
              <a:ext uri="{FF2B5EF4-FFF2-40B4-BE49-F238E27FC236}">
                <a16:creationId xmlns:a16="http://schemas.microsoft.com/office/drawing/2014/main" id="{6B653C82-9535-403E-9D66-5793FF6ADE03}"/>
              </a:ext>
            </a:extLst>
          </p:cNvPr>
          <p:cNvSpPr/>
          <p:nvPr/>
        </p:nvSpPr>
        <p:spPr bwMode="auto">
          <a:xfrm>
            <a:off x="5386266" y="3402454"/>
            <a:ext cx="1357541" cy="1357541"/>
          </a:xfrm>
          <a:prstGeom prst="ellipse">
            <a:avLst/>
          </a:prstGeom>
          <a:solidFill>
            <a:schemeClr val="bg1">
              <a:lumMod val="50000"/>
            </a:schemeClr>
          </a:solidFill>
          <a:ln>
            <a:noFill/>
          </a:ln>
          <a:effectLst/>
          <a:scene3d>
            <a:camera prst="orthographicFront"/>
            <a:lightRig rig="threePt" dir="t"/>
          </a:scene3d>
          <a:sp3d>
            <a:bevelT w="863600" h="863600"/>
            <a:bevelB w="863600" h="863600"/>
          </a:sp3d>
        </p:spPr>
        <p:txBody>
          <a:bodyPr wrap="square" lIns="0" tIns="45715" rIns="0" bIns="45715" rtlCol="0" anchor="ctr">
            <a:noAutofit/>
          </a:bodyPr>
          <a:lstStyle/>
          <a:p>
            <a:pPr algn="ctr" defTabSz="623853" rtl="0" fontAlgn="base">
              <a:spcBef>
                <a:spcPts val="600"/>
              </a:spcBef>
              <a:spcAft>
                <a:spcPts val="600"/>
              </a:spcAft>
              <a:buClr>
                <a:srgbClr val="000000"/>
              </a:buClr>
            </a:pPr>
            <a:r>
              <a:rPr lang="en-US" sz="1400" b="1" kern="1200" dirty="0">
                <a:solidFill>
                  <a:schemeClr val="bg1"/>
                </a:solidFill>
                <a:latin typeface="Arial" charset="0"/>
                <a:ea typeface="+mn-ea"/>
                <a:cs typeface="Times New Roman" pitchFamily="18" charset="0"/>
              </a:rPr>
              <a:t>Cash Flow Statement</a:t>
            </a:r>
            <a:endParaRPr lang="en-US" sz="1050" kern="1200" dirty="0">
              <a:solidFill>
                <a:schemeClr val="bg1"/>
              </a:solidFill>
              <a:cs typeface="Times New Roman" pitchFamily="18" charset="0"/>
            </a:endParaRPr>
          </a:p>
        </p:txBody>
      </p:sp>
    </p:spTree>
    <p:extLst>
      <p:ext uri="{BB962C8B-B14F-4D97-AF65-F5344CB8AC3E}">
        <p14:creationId xmlns:p14="http://schemas.microsoft.com/office/powerpoint/2010/main" val="9310986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ash Flow Statement</a:t>
            </a:r>
            <a:br>
              <a:rPr lang="en-US" sz="2400" kern="0" dirty="0"/>
            </a:br>
            <a:r>
              <a:rPr lang="en-GB" sz="2400" b="0" kern="0" dirty="0"/>
              <a:t>For more details about the Cash Flow Statement, open the Excel document “Cash Flow”</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pic>
        <p:nvPicPr>
          <p:cNvPr id="7" name="Picture 6">
            <a:extLst>
              <a:ext uri="{FF2B5EF4-FFF2-40B4-BE49-F238E27FC236}">
                <a16:creationId xmlns:a16="http://schemas.microsoft.com/office/drawing/2014/main" id="{90A52FEC-5F12-4213-9EA7-7DD0FE377D2F}"/>
              </a:ext>
            </a:extLst>
          </p:cNvPr>
          <p:cNvPicPr>
            <a:picLocks noChangeAspect="1"/>
          </p:cNvPicPr>
          <p:nvPr/>
        </p:nvPicPr>
        <p:blipFill>
          <a:blip r:embed="rId6"/>
          <a:stretch>
            <a:fillRect/>
          </a:stretch>
        </p:blipFill>
        <p:spPr>
          <a:xfrm>
            <a:off x="2864526" y="2274255"/>
            <a:ext cx="6462948" cy="3849770"/>
          </a:xfrm>
          <a:prstGeom prst="rect">
            <a:avLst/>
          </a:prstGeom>
          <a:ln>
            <a:noFill/>
          </a:ln>
          <a:effectLst>
            <a:outerShdw blurRad="50800" dist="38100" dir="5400000" algn="t" rotWithShape="0">
              <a:prstClr val="black">
                <a:alpha val="40000"/>
              </a:prstClr>
            </a:outerShdw>
          </a:effectLst>
        </p:spPr>
      </p:pic>
      <p:pic>
        <p:nvPicPr>
          <p:cNvPr id="2" name="Picture 6" descr="Download Microsoft Excel Logo in SVG Vector or PNG File Format - Logo.wine">
            <a:extLst>
              <a:ext uri="{FF2B5EF4-FFF2-40B4-BE49-F238E27FC236}">
                <a16:creationId xmlns:a16="http://schemas.microsoft.com/office/drawing/2014/main" id="{A2F6DFEC-14C9-DD9C-509E-3353B2EDC78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61338" y="1862541"/>
            <a:ext cx="1132272" cy="754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43415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Table of content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3" name="Text Placeholder 2">
            <a:extLst>
              <a:ext uri="{FF2B5EF4-FFF2-40B4-BE49-F238E27FC236}">
                <a16:creationId xmlns:a16="http://schemas.microsoft.com/office/drawing/2014/main" id="{57B3B926-43D9-6A91-225A-27A3F4F2AF1C}"/>
              </a:ext>
            </a:extLst>
          </p:cNvPr>
          <p:cNvSpPr>
            <a:spLocks noGrp="1"/>
          </p:cNvSpPr>
          <p:nvPr>
            <p:ph type="body" sz="quarter" idx="10"/>
          </p:nvPr>
        </p:nvSpPr>
        <p:spPr>
          <a:xfrm>
            <a:off x="626012" y="1765121"/>
            <a:ext cx="6889213" cy="2092881"/>
          </a:xfrm>
        </p:spPr>
        <p:txBody>
          <a:bodyPr wrap="square">
            <a:spAutoFit/>
          </a:bodyPr>
          <a:lstStyle/>
          <a:p>
            <a:pPr marL="354013" lvl="0" indent="-239713">
              <a:lnSpc>
                <a:spcPct val="100000"/>
              </a:lnSpc>
              <a:spcBef>
                <a:spcPts val="600"/>
              </a:spcBef>
              <a:spcAft>
                <a:spcPts val="600"/>
              </a:spcAft>
              <a:buFont typeface="+mj-lt"/>
              <a:buAutoNum type="arabicPeriod"/>
              <a:defRPr/>
            </a:pPr>
            <a:r>
              <a:rPr lang="en-GB" sz="1800" b="1" dirty="0">
                <a:solidFill>
                  <a:schemeClr val="accent1"/>
                </a:solidFill>
              </a:rPr>
              <a:t>Financial analysis</a:t>
            </a:r>
          </a:p>
          <a:p>
            <a:pPr marL="354013" lvl="0" indent="-239713">
              <a:lnSpc>
                <a:spcPct val="100000"/>
              </a:lnSpc>
              <a:spcBef>
                <a:spcPts val="600"/>
              </a:spcBef>
              <a:spcAft>
                <a:spcPts val="600"/>
              </a:spcAft>
              <a:buFont typeface="+mj-lt"/>
              <a:buAutoNum type="arabicPeriod"/>
              <a:defRPr/>
            </a:pPr>
            <a:r>
              <a:rPr lang="en-GB" sz="1800" b="1" dirty="0">
                <a:solidFill>
                  <a:schemeClr val="accent1"/>
                </a:solidFill>
              </a:rPr>
              <a:t>Income statement</a:t>
            </a:r>
          </a:p>
          <a:p>
            <a:pPr marL="354013" lvl="0" indent="-239713">
              <a:lnSpc>
                <a:spcPct val="100000"/>
              </a:lnSpc>
              <a:spcBef>
                <a:spcPts val="600"/>
              </a:spcBef>
              <a:spcAft>
                <a:spcPts val="600"/>
              </a:spcAft>
              <a:buFont typeface="+mj-lt"/>
              <a:buAutoNum type="arabicPeriod"/>
              <a:defRPr/>
            </a:pPr>
            <a:r>
              <a:rPr lang="en-GB" sz="1800" b="1" dirty="0">
                <a:solidFill>
                  <a:schemeClr val="accent1"/>
                </a:solidFill>
              </a:rPr>
              <a:t>Balance sheet statement</a:t>
            </a:r>
          </a:p>
          <a:p>
            <a:pPr marL="354013" lvl="0" indent="-239713">
              <a:lnSpc>
                <a:spcPct val="100000"/>
              </a:lnSpc>
              <a:spcBef>
                <a:spcPts val="600"/>
              </a:spcBef>
              <a:spcAft>
                <a:spcPts val="600"/>
              </a:spcAft>
              <a:buFont typeface="+mj-lt"/>
              <a:buAutoNum type="arabicPeriod"/>
              <a:defRPr/>
            </a:pPr>
            <a:r>
              <a:rPr lang="en-GB" sz="1800" b="1" dirty="0">
                <a:solidFill>
                  <a:schemeClr val="accent1"/>
                </a:solidFill>
              </a:rPr>
              <a:t>Cash flow statement</a:t>
            </a:r>
          </a:p>
          <a:p>
            <a:pPr marL="354013" lvl="0" indent="-239713">
              <a:lnSpc>
                <a:spcPct val="100000"/>
              </a:lnSpc>
              <a:spcBef>
                <a:spcPts val="600"/>
              </a:spcBef>
              <a:spcAft>
                <a:spcPts val="600"/>
              </a:spcAft>
              <a:buFont typeface="+mj-lt"/>
              <a:buAutoNum type="arabicPeriod"/>
              <a:defRPr/>
            </a:pPr>
            <a:r>
              <a:rPr lang="en-GB" sz="1800" b="1" dirty="0">
                <a:solidFill>
                  <a:schemeClr val="accent2"/>
                </a:solidFill>
              </a:rPr>
              <a:t>Link between the 3 financial statements</a:t>
            </a:r>
          </a:p>
        </p:txBody>
      </p:sp>
      <p:sp>
        <p:nvSpPr>
          <p:cNvPr id="6" name="Rectangle 5">
            <a:extLst>
              <a:ext uri="{FF2B5EF4-FFF2-40B4-BE49-F238E27FC236}">
                <a16:creationId xmlns:a16="http://schemas.microsoft.com/office/drawing/2014/main" id="{BAD7243E-F3D8-6A3D-3C29-A8F247F2D370}"/>
              </a:ext>
            </a:extLst>
          </p:cNvPr>
          <p:cNvSpPr/>
          <p:nvPr/>
        </p:nvSpPr>
        <p:spPr>
          <a:xfrm>
            <a:off x="631874" y="1792016"/>
            <a:ext cx="145365" cy="19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62459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Guid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3970318"/>
          </a:xfrm>
          <a:prstGeom prst="rect">
            <a:avLst/>
          </a:prstGeom>
          <a:noFill/>
        </p:spPr>
        <p:txBody>
          <a:bodyPr wrap="square" rtlCol="0">
            <a:spAutoFit/>
          </a:bodyPr>
          <a:lstStyle/>
          <a:p>
            <a:r>
              <a:rPr lang="en-US" dirty="0"/>
              <a:t>You can use this deliverable directly for your own purposes. You simply need to 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slides have an orange rectangle in the top-right corner. You may decide to delete these slides as they are mainly there to help you fill in the rest of the deliverable. Before you do, copy and paste this document so you always have the original version in case you need it.</a:t>
            </a:r>
          </a:p>
          <a:p>
            <a:endParaRPr lang="en-US" dirty="0"/>
          </a:p>
          <a:p>
            <a:r>
              <a:rPr lang="en-GB" dirty="0"/>
              <a:t>Many of the real-life examples are from a Digital Transformation Business Case presented to the Board of one of our clients, a leading European retail bank. The objective was to convince the Board to invest $100 million in a Digital Transformation Program. The name and data have been changed for confidentiality reasons.</a:t>
            </a:r>
          </a:p>
          <a:p>
            <a:endParaRPr lang="en-US" dirty="0"/>
          </a:p>
        </p:txBody>
      </p:sp>
    </p:spTree>
    <p:extLst>
      <p:ext uri="{BB962C8B-B14F-4D97-AF65-F5344CB8AC3E}">
        <p14:creationId xmlns:p14="http://schemas.microsoft.com/office/powerpoint/2010/main" val="654898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Links between the Income Statement and the Cash Flow Statement</a:t>
            </a:r>
            <a:endParaRPr lang="en-US" sz="2000" b="0" kern="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40" name="Rectangle 39">
            <a:extLst>
              <a:ext uri="{FF2B5EF4-FFF2-40B4-BE49-F238E27FC236}">
                <a16:creationId xmlns:a16="http://schemas.microsoft.com/office/drawing/2014/main" id="{1FD63B46-A683-4E06-AED6-F4A2482FE2AA}"/>
              </a:ext>
            </a:extLst>
          </p:cNvPr>
          <p:cNvSpPr/>
          <p:nvPr/>
        </p:nvSpPr>
        <p:spPr>
          <a:xfrm>
            <a:off x="629265" y="1602658"/>
            <a:ext cx="3300563" cy="34366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From Income statement…</a:t>
            </a:r>
          </a:p>
        </p:txBody>
      </p:sp>
      <p:sp>
        <p:nvSpPr>
          <p:cNvPr id="41" name="Rectangle 40">
            <a:extLst>
              <a:ext uri="{FF2B5EF4-FFF2-40B4-BE49-F238E27FC236}">
                <a16:creationId xmlns:a16="http://schemas.microsoft.com/office/drawing/2014/main" id="{6A2E5430-F7CE-45EE-B135-DAC32249DE46}"/>
              </a:ext>
            </a:extLst>
          </p:cNvPr>
          <p:cNvSpPr/>
          <p:nvPr/>
        </p:nvSpPr>
        <p:spPr>
          <a:xfrm>
            <a:off x="629265" y="20150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tx1"/>
                </a:solidFill>
              </a:rPr>
              <a:t>Revenue</a:t>
            </a:r>
          </a:p>
        </p:txBody>
      </p:sp>
      <p:sp>
        <p:nvSpPr>
          <p:cNvPr id="42" name="Rectangle 41">
            <a:extLst>
              <a:ext uri="{FF2B5EF4-FFF2-40B4-BE49-F238E27FC236}">
                <a16:creationId xmlns:a16="http://schemas.microsoft.com/office/drawing/2014/main" id="{4D2D8238-D9A9-4EDC-AB7C-5BA3CAA76112}"/>
              </a:ext>
            </a:extLst>
          </p:cNvPr>
          <p:cNvSpPr/>
          <p:nvPr/>
        </p:nvSpPr>
        <p:spPr>
          <a:xfrm>
            <a:off x="629265" y="236754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tx1"/>
                </a:solidFill>
              </a:rPr>
              <a:t>Cost of goods sold</a:t>
            </a:r>
          </a:p>
        </p:txBody>
      </p:sp>
      <p:sp>
        <p:nvSpPr>
          <p:cNvPr id="43" name="Rectangle 42">
            <a:extLst>
              <a:ext uri="{FF2B5EF4-FFF2-40B4-BE49-F238E27FC236}">
                <a16:creationId xmlns:a16="http://schemas.microsoft.com/office/drawing/2014/main" id="{ABC2D45A-901B-4787-8269-0DE04052898F}"/>
              </a:ext>
            </a:extLst>
          </p:cNvPr>
          <p:cNvSpPr/>
          <p:nvPr/>
        </p:nvSpPr>
        <p:spPr>
          <a:xfrm>
            <a:off x="629265" y="2720028"/>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Gross profit</a:t>
            </a:r>
          </a:p>
        </p:txBody>
      </p:sp>
      <p:sp>
        <p:nvSpPr>
          <p:cNvPr id="44" name="Rectangle 43">
            <a:extLst>
              <a:ext uri="{FF2B5EF4-FFF2-40B4-BE49-F238E27FC236}">
                <a16:creationId xmlns:a16="http://schemas.microsoft.com/office/drawing/2014/main" id="{2C6D1BC5-223B-4555-9328-97AFD7E56497}"/>
              </a:ext>
            </a:extLst>
          </p:cNvPr>
          <p:cNvSpPr/>
          <p:nvPr/>
        </p:nvSpPr>
        <p:spPr>
          <a:xfrm>
            <a:off x="629265" y="307251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Operating expenses</a:t>
            </a:r>
          </a:p>
        </p:txBody>
      </p:sp>
      <p:sp>
        <p:nvSpPr>
          <p:cNvPr id="45" name="Rectangle 44">
            <a:extLst>
              <a:ext uri="{FF2B5EF4-FFF2-40B4-BE49-F238E27FC236}">
                <a16:creationId xmlns:a16="http://schemas.microsoft.com/office/drawing/2014/main" id="{1D0AC59E-EE79-4A2E-8BB1-488DBE6904F5}"/>
              </a:ext>
            </a:extLst>
          </p:cNvPr>
          <p:cNvSpPr/>
          <p:nvPr/>
        </p:nvSpPr>
        <p:spPr>
          <a:xfrm>
            <a:off x="629265" y="342500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EBITDA</a:t>
            </a:r>
          </a:p>
        </p:txBody>
      </p:sp>
      <p:sp>
        <p:nvSpPr>
          <p:cNvPr id="46" name="Rectangle 45">
            <a:extLst>
              <a:ext uri="{FF2B5EF4-FFF2-40B4-BE49-F238E27FC236}">
                <a16:creationId xmlns:a16="http://schemas.microsoft.com/office/drawing/2014/main" id="{E7DE1EDE-CD15-4C2D-81BA-560AB50DC8FF}"/>
              </a:ext>
            </a:extLst>
          </p:cNvPr>
          <p:cNvSpPr/>
          <p:nvPr/>
        </p:nvSpPr>
        <p:spPr>
          <a:xfrm>
            <a:off x="629265" y="377749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preciation and amortization</a:t>
            </a:r>
          </a:p>
        </p:txBody>
      </p:sp>
      <p:sp>
        <p:nvSpPr>
          <p:cNvPr id="47" name="Rectangle 46">
            <a:extLst>
              <a:ext uri="{FF2B5EF4-FFF2-40B4-BE49-F238E27FC236}">
                <a16:creationId xmlns:a16="http://schemas.microsoft.com/office/drawing/2014/main" id="{CC5A1F93-3B29-4DF2-92A0-8E4358334934}"/>
              </a:ext>
            </a:extLst>
          </p:cNvPr>
          <p:cNvSpPr/>
          <p:nvPr/>
        </p:nvSpPr>
        <p:spPr>
          <a:xfrm>
            <a:off x="629265" y="4129978"/>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EBIT</a:t>
            </a:r>
          </a:p>
        </p:txBody>
      </p:sp>
      <p:sp>
        <p:nvSpPr>
          <p:cNvPr id="48" name="Rectangle 47">
            <a:extLst>
              <a:ext uri="{FF2B5EF4-FFF2-40B4-BE49-F238E27FC236}">
                <a16:creationId xmlns:a16="http://schemas.microsoft.com/office/drawing/2014/main" id="{08D5CB3F-1BA2-47DB-9453-6CD1973D9E9C}"/>
              </a:ext>
            </a:extLst>
          </p:cNvPr>
          <p:cNvSpPr/>
          <p:nvPr/>
        </p:nvSpPr>
        <p:spPr>
          <a:xfrm>
            <a:off x="629265" y="448246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Interest</a:t>
            </a:r>
            <a:endParaRPr lang="en-AU" sz="1100" b="1" dirty="0">
              <a:solidFill>
                <a:schemeClr val="tx1"/>
              </a:solidFill>
            </a:endParaRPr>
          </a:p>
        </p:txBody>
      </p:sp>
      <p:sp>
        <p:nvSpPr>
          <p:cNvPr id="49" name="Rectangle 48">
            <a:extLst>
              <a:ext uri="{FF2B5EF4-FFF2-40B4-BE49-F238E27FC236}">
                <a16:creationId xmlns:a16="http://schemas.microsoft.com/office/drawing/2014/main" id="{D5B421BA-E7BF-4CF3-B3A9-1EE226E07C15}"/>
              </a:ext>
            </a:extLst>
          </p:cNvPr>
          <p:cNvSpPr/>
          <p:nvPr/>
        </p:nvSpPr>
        <p:spPr>
          <a:xfrm>
            <a:off x="629265" y="48349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Income tax expense</a:t>
            </a:r>
          </a:p>
        </p:txBody>
      </p:sp>
      <p:sp>
        <p:nvSpPr>
          <p:cNvPr id="50" name="Rectangle 49">
            <a:extLst>
              <a:ext uri="{FF2B5EF4-FFF2-40B4-BE49-F238E27FC236}">
                <a16:creationId xmlns:a16="http://schemas.microsoft.com/office/drawing/2014/main" id="{9B36F4E4-387B-491C-BB00-3D52EB7824E5}"/>
              </a:ext>
            </a:extLst>
          </p:cNvPr>
          <p:cNvSpPr/>
          <p:nvPr/>
        </p:nvSpPr>
        <p:spPr>
          <a:xfrm>
            <a:off x="629265" y="518744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djusted)</a:t>
            </a:r>
          </a:p>
        </p:txBody>
      </p:sp>
      <p:sp>
        <p:nvSpPr>
          <p:cNvPr id="51" name="Rectangle 50">
            <a:extLst>
              <a:ext uri="{FF2B5EF4-FFF2-40B4-BE49-F238E27FC236}">
                <a16:creationId xmlns:a16="http://schemas.microsoft.com/office/drawing/2014/main" id="{10BC163F-0A8A-473B-BBB8-D3D2EE214E66}"/>
              </a:ext>
            </a:extLst>
          </p:cNvPr>
          <p:cNvSpPr/>
          <p:nvPr/>
        </p:nvSpPr>
        <p:spPr>
          <a:xfrm>
            <a:off x="629265" y="5539927"/>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a:t>
            </a:r>
          </a:p>
        </p:txBody>
      </p:sp>
      <p:sp>
        <p:nvSpPr>
          <p:cNvPr id="52" name="Rectangle 51">
            <a:extLst>
              <a:ext uri="{FF2B5EF4-FFF2-40B4-BE49-F238E27FC236}">
                <a16:creationId xmlns:a16="http://schemas.microsoft.com/office/drawing/2014/main" id="{6E5A9CAE-D9D4-480F-8687-B7C854DFF904}"/>
              </a:ext>
            </a:extLst>
          </p:cNvPr>
          <p:cNvSpPr/>
          <p:nvPr/>
        </p:nvSpPr>
        <p:spPr>
          <a:xfrm>
            <a:off x="629265" y="589241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ividend payout</a:t>
            </a:r>
          </a:p>
        </p:txBody>
      </p:sp>
      <p:sp>
        <p:nvSpPr>
          <p:cNvPr id="53" name="Rectangle 52">
            <a:extLst>
              <a:ext uri="{FF2B5EF4-FFF2-40B4-BE49-F238E27FC236}">
                <a16:creationId xmlns:a16="http://schemas.microsoft.com/office/drawing/2014/main" id="{85D3441B-2842-4C46-8E85-9FA9B1393A19}"/>
              </a:ext>
            </a:extLst>
          </p:cNvPr>
          <p:cNvSpPr/>
          <p:nvPr/>
        </p:nvSpPr>
        <p:spPr>
          <a:xfrm>
            <a:off x="629265" y="6244899"/>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fter distribution</a:t>
            </a:r>
          </a:p>
        </p:txBody>
      </p:sp>
      <p:sp>
        <p:nvSpPr>
          <p:cNvPr id="54" name="Rectangle 53">
            <a:extLst>
              <a:ext uri="{FF2B5EF4-FFF2-40B4-BE49-F238E27FC236}">
                <a16:creationId xmlns:a16="http://schemas.microsoft.com/office/drawing/2014/main" id="{36392030-FE74-4FCD-A62A-227CBCBA4730}"/>
              </a:ext>
            </a:extLst>
          </p:cNvPr>
          <p:cNvSpPr/>
          <p:nvPr/>
        </p:nvSpPr>
        <p:spPr>
          <a:xfrm>
            <a:off x="6983796" y="1602658"/>
            <a:ext cx="3300563" cy="34366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to Cash flow statement</a:t>
            </a:r>
          </a:p>
        </p:txBody>
      </p:sp>
      <p:sp>
        <p:nvSpPr>
          <p:cNvPr id="55" name="Rectangle 54">
            <a:extLst>
              <a:ext uri="{FF2B5EF4-FFF2-40B4-BE49-F238E27FC236}">
                <a16:creationId xmlns:a16="http://schemas.microsoft.com/office/drawing/2014/main" id="{3918BBD7-AA46-47D5-92C1-84BEA8AFA9FD}"/>
              </a:ext>
            </a:extLst>
          </p:cNvPr>
          <p:cNvSpPr/>
          <p:nvPr/>
        </p:nvSpPr>
        <p:spPr>
          <a:xfrm>
            <a:off x="6983796" y="20150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djusted</a:t>
            </a:r>
          </a:p>
        </p:txBody>
      </p:sp>
      <p:sp>
        <p:nvSpPr>
          <p:cNvPr id="56" name="Rectangle 55">
            <a:extLst>
              <a:ext uri="{FF2B5EF4-FFF2-40B4-BE49-F238E27FC236}">
                <a16:creationId xmlns:a16="http://schemas.microsoft.com/office/drawing/2014/main" id="{5C945FCF-BAF5-4D8D-96C3-20B3AC086158}"/>
              </a:ext>
            </a:extLst>
          </p:cNvPr>
          <p:cNvSpPr/>
          <p:nvPr/>
        </p:nvSpPr>
        <p:spPr>
          <a:xfrm>
            <a:off x="6983796" y="236444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preciation and amortization</a:t>
            </a:r>
          </a:p>
        </p:txBody>
      </p:sp>
      <p:sp>
        <p:nvSpPr>
          <p:cNvPr id="57" name="Rectangle 56">
            <a:extLst>
              <a:ext uri="{FF2B5EF4-FFF2-40B4-BE49-F238E27FC236}">
                <a16:creationId xmlns:a16="http://schemas.microsoft.com/office/drawing/2014/main" id="{29315B68-3D63-43F9-99D0-B65B781A3412}"/>
              </a:ext>
            </a:extLst>
          </p:cNvPr>
          <p:cNvSpPr/>
          <p:nvPr/>
        </p:nvSpPr>
        <p:spPr>
          <a:xfrm>
            <a:off x="6983796" y="271383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ferred income taxes</a:t>
            </a:r>
          </a:p>
        </p:txBody>
      </p:sp>
      <p:sp>
        <p:nvSpPr>
          <p:cNvPr id="58" name="Rectangle 57">
            <a:extLst>
              <a:ext uri="{FF2B5EF4-FFF2-40B4-BE49-F238E27FC236}">
                <a16:creationId xmlns:a16="http://schemas.microsoft.com/office/drawing/2014/main" id="{39634D88-BB50-4903-8EEC-DFCCFE369F18}"/>
              </a:ext>
            </a:extLst>
          </p:cNvPr>
          <p:cNvSpPr/>
          <p:nvPr/>
        </p:nvSpPr>
        <p:spPr>
          <a:xfrm>
            <a:off x="6983796" y="306322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ounts receivable</a:t>
            </a:r>
          </a:p>
        </p:txBody>
      </p:sp>
      <p:sp>
        <p:nvSpPr>
          <p:cNvPr id="59" name="Rectangle 58">
            <a:extLst>
              <a:ext uri="{FF2B5EF4-FFF2-40B4-BE49-F238E27FC236}">
                <a16:creationId xmlns:a16="http://schemas.microsoft.com/office/drawing/2014/main" id="{5090F6EA-6A01-4800-B559-F610D7699074}"/>
              </a:ext>
            </a:extLst>
          </p:cNvPr>
          <p:cNvSpPr/>
          <p:nvPr/>
        </p:nvSpPr>
        <p:spPr>
          <a:xfrm>
            <a:off x="6983796" y="341261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inventory</a:t>
            </a:r>
          </a:p>
        </p:txBody>
      </p:sp>
      <p:sp>
        <p:nvSpPr>
          <p:cNvPr id="60" name="Rectangle 59">
            <a:extLst>
              <a:ext uri="{FF2B5EF4-FFF2-40B4-BE49-F238E27FC236}">
                <a16:creationId xmlns:a16="http://schemas.microsoft.com/office/drawing/2014/main" id="{1338FEE1-12DF-4CE9-AE49-BE85453FA05A}"/>
              </a:ext>
            </a:extLst>
          </p:cNvPr>
          <p:cNvSpPr/>
          <p:nvPr/>
        </p:nvSpPr>
        <p:spPr>
          <a:xfrm>
            <a:off x="6983796" y="376200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ounts payable</a:t>
            </a:r>
          </a:p>
        </p:txBody>
      </p:sp>
      <p:sp>
        <p:nvSpPr>
          <p:cNvPr id="61" name="Rectangle 60">
            <a:extLst>
              <a:ext uri="{FF2B5EF4-FFF2-40B4-BE49-F238E27FC236}">
                <a16:creationId xmlns:a16="http://schemas.microsoft.com/office/drawing/2014/main" id="{44F98724-1EF3-4D08-AF7A-2C8AF6C6DC9A}"/>
              </a:ext>
            </a:extLst>
          </p:cNvPr>
          <p:cNvSpPr/>
          <p:nvPr/>
        </p:nvSpPr>
        <p:spPr>
          <a:xfrm>
            <a:off x="6983796" y="411139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rued liabilities</a:t>
            </a:r>
          </a:p>
        </p:txBody>
      </p:sp>
      <p:sp>
        <p:nvSpPr>
          <p:cNvPr id="62" name="Rectangle 61">
            <a:extLst>
              <a:ext uri="{FF2B5EF4-FFF2-40B4-BE49-F238E27FC236}">
                <a16:creationId xmlns:a16="http://schemas.microsoft.com/office/drawing/2014/main" id="{676A39DA-7872-4271-AAC0-456CC19998F4}"/>
              </a:ext>
            </a:extLst>
          </p:cNvPr>
          <p:cNvSpPr/>
          <p:nvPr/>
        </p:nvSpPr>
        <p:spPr>
          <a:xfrm>
            <a:off x="6983796" y="446078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CAPEX</a:t>
            </a:r>
          </a:p>
        </p:txBody>
      </p:sp>
      <p:sp>
        <p:nvSpPr>
          <p:cNvPr id="63" name="Rectangle 62">
            <a:extLst>
              <a:ext uri="{FF2B5EF4-FFF2-40B4-BE49-F238E27FC236}">
                <a16:creationId xmlns:a16="http://schemas.microsoft.com/office/drawing/2014/main" id="{0357C30A-FA2B-455D-AD74-A9A8E5E8DD4C}"/>
              </a:ext>
            </a:extLst>
          </p:cNvPr>
          <p:cNvSpPr/>
          <p:nvPr/>
        </p:nvSpPr>
        <p:spPr>
          <a:xfrm>
            <a:off x="6983796" y="481017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Other investing activities</a:t>
            </a:r>
          </a:p>
        </p:txBody>
      </p:sp>
      <p:sp>
        <p:nvSpPr>
          <p:cNvPr id="64" name="Rectangle 63">
            <a:extLst>
              <a:ext uri="{FF2B5EF4-FFF2-40B4-BE49-F238E27FC236}">
                <a16:creationId xmlns:a16="http://schemas.microsoft.com/office/drawing/2014/main" id="{746A0F86-D834-4D90-B7F9-5A2505650A97}"/>
              </a:ext>
            </a:extLst>
          </p:cNvPr>
          <p:cNvSpPr/>
          <p:nvPr/>
        </p:nvSpPr>
        <p:spPr>
          <a:xfrm>
            <a:off x="6983796" y="515956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bt</a:t>
            </a:r>
          </a:p>
        </p:txBody>
      </p:sp>
      <p:sp>
        <p:nvSpPr>
          <p:cNvPr id="65" name="Rectangle 64">
            <a:extLst>
              <a:ext uri="{FF2B5EF4-FFF2-40B4-BE49-F238E27FC236}">
                <a16:creationId xmlns:a16="http://schemas.microsoft.com/office/drawing/2014/main" id="{9F9EB4E5-8B01-4A3C-8C24-87547F18DD9C}"/>
              </a:ext>
            </a:extLst>
          </p:cNvPr>
          <p:cNvSpPr/>
          <p:nvPr/>
        </p:nvSpPr>
        <p:spPr>
          <a:xfrm>
            <a:off x="6983796" y="55089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ividends paid</a:t>
            </a:r>
          </a:p>
        </p:txBody>
      </p:sp>
      <p:sp>
        <p:nvSpPr>
          <p:cNvPr id="66" name="Rectangle 65">
            <a:extLst>
              <a:ext uri="{FF2B5EF4-FFF2-40B4-BE49-F238E27FC236}">
                <a16:creationId xmlns:a16="http://schemas.microsoft.com/office/drawing/2014/main" id="{40802937-184D-4381-AEF7-3F541FDD5109}"/>
              </a:ext>
            </a:extLst>
          </p:cNvPr>
          <p:cNvSpPr/>
          <p:nvPr/>
        </p:nvSpPr>
        <p:spPr>
          <a:xfrm>
            <a:off x="6983796" y="585834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Equity Issuances (buybacks)</a:t>
            </a:r>
          </a:p>
        </p:txBody>
      </p:sp>
      <p:sp>
        <p:nvSpPr>
          <p:cNvPr id="67" name="Rectangle 66">
            <a:extLst>
              <a:ext uri="{FF2B5EF4-FFF2-40B4-BE49-F238E27FC236}">
                <a16:creationId xmlns:a16="http://schemas.microsoft.com/office/drawing/2014/main" id="{244A2A55-2159-40ED-B7EA-64B8964AC1DA}"/>
              </a:ext>
            </a:extLst>
          </p:cNvPr>
          <p:cNvSpPr/>
          <p:nvPr/>
        </p:nvSpPr>
        <p:spPr>
          <a:xfrm>
            <a:off x="6983796" y="620773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Total change in cash</a:t>
            </a:r>
          </a:p>
        </p:txBody>
      </p:sp>
      <p:sp>
        <p:nvSpPr>
          <p:cNvPr id="68" name="Right Brace 67">
            <a:extLst>
              <a:ext uri="{FF2B5EF4-FFF2-40B4-BE49-F238E27FC236}">
                <a16:creationId xmlns:a16="http://schemas.microsoft.com/office/drawing/2014/main" id="{60F1226A-8CCD-4798-BE9B-E30C002168A5}"/>
              </a:ext>
            </a:extLst>
          </p:cNvPr>
          <p:cNvSpPr/>
          <p:nvPr/>
        </p:nvSpPr>
        <p:spPr>
          <a:xfrm>
            <a:off x="10354887" y="1946320"/>
            <a:ext cx="284531" cy="2478367"/>
          </a:xfrm>
          <a:prstGeom prst="rightBrace">
            <a:avLst>
              <a:gd name="adj1" fmla="val 29066"/>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69" name="TextBox 68">
            <a:extLst>
              <a:ext uri="{FF2B5EF4-FFF2-40B4-BE49-F238E27FC236}">
                <a16:creationId xmlns:a16="http://schemas.microsoft.com/office/drawing/2014/main" id="{309CF6A5-49ED-4119-A62C-3F87661BB463}"/>
              </a:ext>
            </a:extLst>
          </p:cNvPr>
          <p:cNvSpPr txBox="1"/>
          <p:nvPr/>
        </p:nvSpPr>
        <p:spPr>
          <a:xfrm>
            <a:off x="10562262" y="2987708"/>
            <a:ext cx="1138125" cy="415498"/>
          </a:xfrm>
          <a:prstGeom prst="rect">
            <a:avLst/>
          </a:prstGeom>
          <a:noFill/>
        </p:spPr>
        <p:txBody>
          <a:bodyPr wrap="square" rtlCol="0">
            <a:spAutoFit/>
          </a:bodyPr>
          <a:lstStyle/>
          <a:p>
            <a:pPr algn="ctr"/>
            <a:r>
              <a:rPr lang="en-AU" sz="1050" b="1" dirty="0"/>
              <a:t>Operating activities</a:t>
            </a:r>
          </a:p>
        </p:txBody>
      </p:sp>
      <p:sp>
        <p:nvSpPr>
          <p:cNvPr id="70" name="Right Brace 69">
            <a:extLst>
              <a:ext uri="{FF2B5EF4-FFF2-40B4-BE49-F238E27FC236}">
                <a16:creationId xmlns:a16="http://schemas.microsoft.com/office/drawing/2014/main" id="{00754736-18B9-4BD0-AB9B-6E5FA45ACFD9}"/>
              </a:ext>
            </a:extLst>
          </p:cNvPr>
          <p:cNvSpPr/>
          <p:nvPr/>
        </p:nvSpPr>
        <p:spPr>
          <a:xfrm>
            <a:off x="10354887" y="4484512"/>
            <a:ext cx="284531" cy="659832"/>
          </a:xfrm>
          <a:prstGeom prst="rightBrace">
            <a:avLst>
              <a:gd name="adj1" fmla="val 29066"/>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71" name="TextBox 70">
            <a:extLst>
              <a:ext uri="{FF2B5EF4-FFF2-40B4-BE49-F238E27FC236}">
                <a16:creationId xmlns:a16="http://schemas.microsoft.com/office/drawing/2014/main" id="{A00A6386-CD10-4D42-AA72-DE180D5CBBA2}"/>
              </a:ext>
            </a:extLst>
          </p:cNvPr>
          <p:cNvSpPr txBox="1"/>
          <p:nvPr/>
        </p:nvSpPr>
        <p:spPr>
          <a:xfrm>
            <a:off x="10562262" y="4631796"/>
            <a:ext cx="1138125" cy="415498"/>
          </a:xfrm>
          <a:prstGeom prst="rect">
            <a:avLst/>
          </a:prstGeom>
          <a:noFill/>
        </p:spPr>
        <p:txBody>
          <a:bodyPr wrap="square" rtlCol="0">
            <a:spAutoFit/>
          </a:bodyPr>
          <a:lstStyle/>
          <a:p>
            <a:pPr algn="ctr"/>
            <a:r>
              <a:rPr lang="en-AU" sz="1050" b="1" dirty="0"/>
              <a:t>Investing activities</a:t>
            </a:r>
          </a:p>
        </p:txBody>
      </p:sp>
      <p:sp>
        <p:nvSpPr>
          <p:cNvPr id="72" name="Right Brace 71">
            <a:extLst>
              <a:ext uri="{FF2B5EF4-FFF2-40B4-BE49-F238E27FC236}">
                <a16:creationId xmlns:a16="http://schemas.microsoft.com/office/drawing/2014/main" id="{0DFAD61F-A09A-46DB-83BB-F7384BEC747F}"/>
              </a:ext>
            </a:extLst>
          </p:cNvPr>
          <p:cNvSpPr/>
          <p:nvPr/>
        </p:nvSpPr>
        <p:spPr>
          <a:xfrm>
            <a:off x="10354887" y="5171932"/>
            <a:ext cx="284531" cy="989747"/>
          </a:xfrm>
          <a:prstGeom prst="rightBrace">
            <a:avLst>
              <a:gd name="adj1" fmla="val 29067"/>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73" name="TextBox 72">
            <a:extLst>
              <a:ext uri="{FF2B5EF4-FFF2-40B4-BE49-F238E27FC236}">
                <a16:creationId xmlns:a16="http://schemas.microsoft.com/office/drawing/2014/main" id="{3552202C-D077-43A2-9EB3-F655855FDBD8}"/>
              </a:ext>
            </a:extLst>
          </p:cNvPr>
          <p:cNvSpPr txBox="1"/>
          <p:nvPr/>
        </p:nvSpPr>
        <p:spPr>
          <a:xfrm>
            <a:off x="10562262" y="5489291"/>
            <a:ext cx="1138125" cy="415498"/>
          </a:xfrm>
          <a:prstGeom prst="rect">
            <a:avLst/>
          </a:prstGeom>
          <a:noFill/>
        </p:spPr>
        <p:txBody>
          <a:bodyPr wrap="square" rtlCol="0">
            <a:spAutoFit/>
          </a:bodyPr>
          <a:lstStyle/>
          <a:p>
            <a:pPr algn="ctr"/>
            <a:r>
              <a:rPr lang="en-AU" sz="1050" b="1" dirty="0"/>
              <a:t>Financing activities</a:t>
            </a:r>
          </a:p>
        </p:txBody>
      </p:sp>
      <p:cxnSp>
        <p:nvCxnSpPr>
          <p:cNvPr id="74" name="Elbow Connector 51">
            <a:extLst>
              <a:ext uri="{FF2B5EF4-FFF2-40B4-BE49-F238E27FC236}">
                <a16:creationId xmlns:a16="http://schemas.microsoft.com/office/drawing/2014/main" id="{47F49455-213C-481F-9CC3-FFB0257BA712}"/>
              </a:ext>
            </a:extLst>
          </p:cNvPr>
          <p:cNvCxnSpPr>
            <a:stCxn id="50" idx="3"/>
            <a:endCxn id="55" idx="1"/>
          </p:cNvCxnSpPr>
          <p:nvPr/>
        </p:nvCxnSpPr>
        <p:spPr>
          <a:xfrm flipV="1">
            <a:off x="3929828" y="2147081"/>
            <a:ext cx="3053969" cy="3172387"/>
          </a:xfrm>
          <a:prstGeom prst="bentConnector3">
            <a:avLst>
              <a:gd name="adj1" fmla="val 5643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53">
            <a:extLst>
              <a:ext uri="{FF2B5EF4-FFF2-40B4-BE49-F238E27FC236}">
                <a16:creationId xmlns:a16="http://schemas.microsoft.com/office/drawing/2014/main" id="{14EB86E4-0BFF-489C-984B-5E096D5FD111}"/>
              </a:ext>
            </a:extLst>
          </p:cNvPr>
          <p:cNvCxnSpPr>
            <a:stCxn id="46" idx="3"/>
            <a:endCxn id="56" idx="1"/>
          </p:cNvCxnSpPr>
          <p:nvPr/>
        </p:nvCxnSpPr>
        <p:spPr>
          <a:xfrm flipV="1">
            <a:off x="3929828" y="2496471"/>
            <a:ext cx="3053969" cy="141304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Elbow Connector 57">
            <a:extLst>
              <a:ext uri="{FF2B5EF4-FFF2-40B4-BE49-F238E27FC236}">
                <a16:creationId xmlns:a16="http://schemas.microsoft.com/office/drawing/2014/main" id="{79E884B3-208B-4FE9-BA93-B1C5D7F45D21}"/>
              </a:ext>
            </a:extLst>
          </p:cNvPr>
          <p:cNvCxnSpPr>
            <a:stCxn id="52" idx="3"/>
            <a:endCxn id="65" idx="1"/>
          </p:cNvCxnSpPr>
          <p:nvPr/>
        </p:nvCxnSpPr>
        <p:spPr>
          <a:xfrm flipV="1">
            <a:off x="3929828" y="5640981"/>
            <a:ext cx="3053969" cy="3834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3586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Links between the Cash Flow Statement and the Balance Sheet</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128" name="Rectangle 127">
            <a:extLst>
              <a:ext uri="{FF2B5EF4-FFF2-40B4-BE49-F238E27FC236}">
                <a16:creationId xmlns:a16="http://schemas.microsoft.com/office/drawing/2014/main" id="{F9C78A35-7289-4BF8-88F3-A7DED8FB0CB5}"/>
              </a:ext>
            </a:extLst>
          </p:cNvPr>
          <p:cNvSpPr/>
          <p:nvPr/>
        </p:nvSpPr>
        <p:spPr>
          <a:xfrm>
            <a:off x="1810452" y="1602658"/>
            <a:ext cx="3177868" cy="340040"/>
          </a:xfrm>
          <a:prstGeom prst="rect">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0" cap="none" spc="0" normalizeH="0" baseline="0" noProof="0" dirty="0">
                <a:ln>
                  <a:noFill/>
                </a:ln>
                <a:solidFill>
                  <a:srgbClr val="FFFFFF"/>
                </a:solidFill>
                <a:effectLst/>
                <a:uLnTx/>
                <a:uFillTx/>
                <a:latin typeface="Arial"/>
                <a:ea typeface="+mn-ea"/>
                <a:cs typeface="+mn-cs"/>
              </a:rPr>
              <a:t>From Cash flow statement…</a:t>
            </a:r>
          </a:p>
        </p:txBody>
      </p:sp>
      <p:sp>
        <p:nvSpPr>
          <p:cNvPr id="129" name="Rectangle 128">
            <a:extLst>
              <a:ext uri="{FF2B5EF4-FFF2-40B4-BE49-F238E27FC236}">
                <a16:creationId xmlns:a16="http://schemas.microsoft.com/office/drawing/2014/main" id="{7FA39063-9675-4B69-A87E-DB79C744E273}"/>
              </a:ext>
            </a:extLst>
          </p:cNvPr>
          <p:cNvSpPr/>
          <p:nvPr/>
        </p:nvSpPr>
        <p:spPr>
          <a:xfrm>
            <a:off x="1810452" y="201070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Net income adjusted</a:t>
            </a:r>
          </a:p>
        </p:txBody>
      </p:sp>
      <p:sp>
        <p:nvSpPr>
          <p:cNvPr id="130" name="Rectangle 129">
            <a:extLst>
              <a:ext uri="{FF2B5EF4-FFF2-40B4-BE49-F238E27FC236}">
                <a16:creationId xmlns:a16="http://schemas.microsoft.com/office/drawing/2014/main" id="{A9046394-651B-477B-88BA-1FAEBAF8A16F}"/>
              </a:ext>
            </a:extLst>
          </p:cNvPr>
          <p:cNvSpPr/>
          <p:nvPr/>
        </p:nvSpPr>
        <p:spPr>
          <a:xfrm>
            <a:off x="1810452" y="2356413"/>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preciation and amortization</a:t>
            </a:r>
          </a:p>
        </p:txBody>
      </p:sp>
      <p:sp>
        <p:nvSpPr>
          <p:cNvPr id="131" name="Rectangle 130">
            <a:extLst>
              <a:ext uri="{FF2B5EF4-FFF2-40B4-BE49-F238E27FC236}">
                <a16:creationId xmlns:a16="http://schemas.microsoft.com/office/drawing/2014/main" id="{D3A7ACF5-FF66-4349-998E-92EF038B0FEA}"/>
              </a:ext>
            </a:extLst>
          </p:cNvPr>
          <p:cNvSpPr/>
          <p:nvPr/>
        </p:nvSpPr>
        <p:spPr>
          <a:xfrm>
            <a:off x="1810452" y="270212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ferred income taxes</a:t>
            </a:r>
          </a:p>
        </p:txBody>
      </p:sp>
      <p:sp>
        <p:nvSpPr>
          <p:cNvPr id="132" name="Rectangle 131">
            <a:extLst>
              <a:ext uri="{FF2B5EF4-FFF2-40B4-BE49-F238E27FC236}">
                <a16:creationId xmlns:a16="http://schemas.microsoft.com/office/drawing/2014/main" id="{C3429638-F35C-4CB5-8900-AE175CBFCE5B}"/>
              </a:ext>
            </a:extLst>
          </p:cNvPr>
          <p:cNvSpPr/>
          <p:nvPr/>
        </p:nvSpPr>
        <p:spPr>
          <a:xfrm>
            <a:off x="1810452" y="3047827"/>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ounts receivable</a:t>
            </a:r>
          </a:p>
        </p:txBody>
      </p:sp>
      <p:sp>
        <p:nvSpPr>
          <p:cNvPr id="133" name="Rectangle 132">
            <a:extLst>
              <a:ext uri="{FF2B5EF4-FFF2-40B4-BE49-F238E27FC236}">
                <a16:creationId xmlns:a16="http://schemas.microsoft.com/office/drawing/2014/main" id="{C36DD450-1465-4531-AAA0-D62921E1F802}"/>
              </a:ext>
            </a:extLst>
          </p:cNvPr>
          <p:cNvSpPr/>
          <p:nvPr/>
        </p:nvSpPr>
        <p:spPr>
          <a:xfrm>
            <a:off x="1810452" y="339353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inventory</a:t>
            </a:r>
          </a:p>
        </p:txBody>
      </p:sp>
      <p:sp>
        <p:nvSpPr>
          <p:cNvPr id="134" name="Rectangle 133">
            <a:extLst>
              <a:ext uri="{FF2B5EF4-FFF2-40B4-BE49-F238E27FC236}">
                <a16:creationId xmlns:a16="http://schemas.microsoft.com/office/drawing/2014/main" id="{6BE07065-854D-4F7F-A098-D1A2CB4D6E92}"/>
              </a:ext>
            </a:extLst>
          </p:cNvPr>
          <p:cNvSpPr/>
          <p:nvPr/>
        </p:nvSpPr>
        <p:spPr>
          <a:xfrm>
            <a:off x="1810452" y="3739242"/>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ounts payable</a:t>
            </a:r>
          </a:p>
        </p:txBody>
      </p:sp>
      <p:sp>
        <p:nvSpPr>
          <p:cNvPr id="135" name="Rectangle 134">
            <a:extLst>
              <a:ext uri="{FF2B5EF4-FFF2-40B4-BE49-F238E27FC236}">
                <a16:creationId xmlns:a16="http://schemas.microsoft.com/office/drawing/2014/main" id="{3BFF2192-A9B5-4195-A306-413CDD8A1B13}"/>
              </a:ext>
            </a:extLst>
          </p:cNvPr>
          <p:cNvSpPr/>
          <p:nvPr/>
        </p:nvSpPr>
        <p:spPr>
          <a:xfrm>
            <a:off x="1810452" y="4084949"/>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rued liabilities</a:t>
            </a:r>
          </a:p>
        </p:txBody>
      </p:sp>
      <p:sp>
        <p:nvSpPr>
          <p:cNvPr id="136" name="Rectangle 135">
            <a:extLst>
              <a:ext uri="{FF2B5EF4-FFF2-40B4-BE49-F238E27FC236}">
                <a16:creationId xmlns:a16="http://schemas.microsoft.com/office/drawing/2014/main" id="{8F805A7B-A4E8-48DE-B74F-1A8B09DC53BF}"/>
              </a:ext>
            </a:extLst>
          </p:cNvPr>
          <p:cNvSpPr/>
          <p:nvPr/>
        </p:nvSpPr>
        <p:spPr>
          <a:xfrm>
            <a:off x="1810452" y="443065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CAPEX</a:t>
            </a:r>
          </a:p>
        </p:txBody>
      </p:sp>
      <p:sp>
        <p:nvSpPr>
          <p:cNvPr id="137" name="Rectangle 136">
            <a:extLst>
              <a:ext uri="{FF2B5EF4-FFF2-40B4-BE49-F238E27FC236}">
                <a16:creationId xmlns:a16="http://schemas.microsoft.com/office/drawing/2014/main" id="{817BD29D-F014-4378-9C2D-71CCEB40041E}"/>
              </a:ext>
            </a:extLst>
          </p:cNvPr>
          <p:cNvSpPr/>
          <p:nvPr/>
        </p:nvSpPr>
        <p:spPr>
          <a:xfrm>
            <a:off x="1810452" y="4776363"/>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Other investing activities</a:t>
            </a:r>
          </a:p>
        </p:txBody>
      </p:sp>
      <p:sp>
        <p:nvSpPr>
          <p:cNvPr id="138" name="Rectangle 137">
            <a:extLst>
              <a:ext uri="{FF2B5EF4-FFF2-40B4-BE49-F238E27FC236}">
                <a16:creationId xmlns:a16="http://schemas.microsoft.com/office/drawing/2014/main" id="{130429DA-9CD9-46D6-AE6C-3442DACE62A1}"/>
              </a:ext>
            </a:extLst>
          </p:cNvPr>
          <p:cNvSpPr/>
          <p:nvPr/>
        </p:nvSpPr>
        <p:spPr>
          <a:xfrm>
            <a:off x="1810452" y="512207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bt</a:t>
            </a:r>
          </a:p>
        </p:txBody>
      </p:sp>
      <p:sp>
        <p:nvSpPr>
          <p:cNvPr id="139" name="Rectangle 138">
            <a:extLst>
              <a:ext uri="{FF2B5EF4-FFF2-40B4-BE49-F238E27FC236}">
                <a16:creationId xmlns:a16="http://schemas.microsoft.com/office/drawing/2014/main" id="{AEE0CAF7-6E58-4DF6-9A45-D39AD72CF7E6}"/>
              </a:ext>
            </a:extLst>
          </p:cNvPr>
          <p:cNvSpPr/>
          <p:nvPr/>
        </p:nvSpPr>
        <p:spPr>
          <a:xfrm>
            <a:off x="1810452" y="5467778"/>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ividends paid</a:t>
            </a:r>
          </a:p>
        </p:txBody>
      </p:sp>
      <p:sp>
        <p:nvSpPr>
          <p:cNvPr id="140" name="Rectangle 139">
            <a:extLst>
              <a:ext uri="{FF2B5EF4-FFF2-40B4-BE49-F238E27FC236}">
                <a16:creationId xmlns:a16="http://schemas.microsoft.com/office/drawing/2014/main" id="{6F851DED-9139-4976-9230-04828EA3F28F}"/>
              </a:ext>
            </a:extLst>
          </p:cNvPr>
          <p:cNvSpPr/>
          <p:nvPr/>
        </p:nvSpPr>
        <p:spPr>
          <a:xfrm>
            <a:off x="1810452" y="581348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Equity Issuances (buybacks)</a:t>
            </a:r>
          </a:p>
        </p:txBody>
      </p:sp>
      <p:sp>
        <p:nvSpPr>
          <p:cNvPr id="141" name="Rectangle 140">
            <a:extLst>
              <a:ext uri="{FF2B5EF4-FFF2-40B4-BE49-F238E27FC236}">
                <a16:creationId xmlns:a16="http://schemas.microsoft.com/office/drawing/2014/main" id="{E2F1711B-A71D-4CB0-9AFC-73B721535700}"/>
              </a:ext>
            </a:extLst>
          </p:cNvPr>
          <p:cNvSpPr/>
          <p:nvPr/>
        </p:nvSpPr>
        <p:spPr>
          <a:xfrm>
            <a:off x="1810452" y="6159192"/>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Total change in cash</a:t>
            </a:r>
          </a:p>
        </p:txBody>
      </p:sp>
      <p:sp>
        <p:nvSpPr>
          <p:cNvPr id="142" name="TextBox 141">
            <a:extLst>
              <a:ext uri="{FF2B5EF4-FFF2-40B4-BE49-F238E27FC236}">
                <a16:creationId xmlns:a16="http://schemas.microsoft.com/office/drawing/2014/main" id="{8077662E-5981-4702-9DC2-D30598F9AE58}"/>
              </a:ext>
            </a:extLst>
          </p:cNvPr>
          <p:cNvSpPr txBox="1"/>
          <p:nvPr/>
        </p:nvSpPr>
        <p:spPr>
          <a:xfrm>
            <a:off x="435078" y="2966031"/>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Operating activities</a:t>
            </a:r>
          </a:p>
        </p:txBody>
      </p:sp>
      <p:sp>
        <p:nvSpPr>
          <p:cNvPr id="143" name="TextBox 142">
            <a:extLst>
              <a:ext uri="{FF2B5EF4-FFF2-40B4-BE49-F238E27FC236}">
                <a16:creationId xmlns:a16="http://schemas.microsoft.com/office/drawing/2014/main" id="{8CEC6E3A-5130-40AA-A79C-E00F6FDF44D6}"/>
              </a:ext>
            </a:extLst>
          </p:cNvPr>
          <p:cNvSpPr txBox="1"/>
          <p:nvPr/>
        </p:nvSpPr>
        <p:spPr>
          <a:xfrm>
            <a:off x="472908" y="4697023"/>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Investing activities</a:t>
            </a:r>
          </a:p>
        </p:txBody>
      </p:sp>
      <p:sp>
        <p:nvSpPr>
          <p:cNvPr id="144" name="TextBox 143">
            <a:extLst>
              <a:ext uri="{FF2B5EF4-FFF2-40B4-BE49-F238E27FC236}">
                <a16:creationId xmlns:a16="http://schemas.microsoft.com/office/drawing/2014/main" id="{563E2F38-31A4-4CA8-8FF6-331EDE35F91C}"/>
              </a:ext>
            </a:extLst>
          </p:cNvPr>
          <p:cNvSpPr txBox="1"/>
          <p:nvPr/>
        </p:nvSpPr>
        <p:spPr>
          <a:xfrm>
            <a:off x="466385" y="5555192"/>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Financing activities</a:t>
            </a:r>
          </a:p>
        </p:txBody>
      </p:sp>
      <p:sp>
        <p:nvSpPr>
          <p:cNvPr id="145" name="Left Brace 144">
            <a:extLst>
              <a:ext uri="{FF2B5EF4-FFF2-40B4-BE49-F238E27FC236}">
                <a16:creationId xmlns:a16="http://schemas.microsoft.com/office/drawing/2014/main" id="{25D6BD1F-26BF-4631-8E1C-C8EBF4CDE186}"/>
              </a:ext>
            </a:extLst>
          </p:cNvPr>
          <p:cNvSpPr/>
          <p:nvPr/>
        </p:nvSpPr>
        <p:spPr>
          <a:xfrm>
            <a:off x="1458226" y="1993704"/>
            <a:ext cx="273954" cy="2366677"/>
          </a:xfrm>
          <a:prstGeom prst="lef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146" name="Left Brace 145">
            <a:extLst>
              <a:ext uri="{FF2B5EF4-FFF2-40B4-BE49-F238E27FC236}">
                <a16:creationId xmlns:a16="http://schemas.microsoft.com/office/drawing/2014/main" id="{766CFD07-226E-4F30-8B99-2343CE387FF1}"/>
              </a:ext>
            </a:extLst>
          </p:cNvPr>
          <p:cNvSpPr/>
          <p:nvPr/>
        </p:nvSpPr>
        <p:spPr>
          <a:xfrm>
            <a:off x="1458226" y="4411387"/>
            <a:ext cx="273954" cy="979315"/>
          </a:xfrm>
          <a:prstGeom prst="leftBrace">
            <a:avLst>
              <a:gd name="adj1" fmla="val 26278"/>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147" name="Left Brace 146">
            <a:extLst>
              <a:ext uri="{FF2B5EF4-FFF2-40B4-BE49-F238E27FC236}">
                <a16:creationId xmlns:a16="http://schemas.microsoft.com/office/drawing/2014/main" id="{5DCF5C98-A689-441B-ABB7-533D3A077599}"/>
              </a:ext>
            </a:extLst>
          </p:cNvPr>
          <p:cNvSpPr/>
          <p:nvPr/>
        </p:nvSpPr>
        <p:spPr>
          <a:xfrm>
            <a:off x="1458226" y="5439027"/>
            <a:ext cx="273954" cy="652877"/>
          </a:xfrm>
          <a:prstGeom prst="leftBrace">
            <a:avLst>
              <a:gd name="adj1" fmla="val 26278"/>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148" name="Rectangle 147">
            <a:extLst>
              <a:ext uri="{FF2B5EF4-FFF2-40B4-BE49-F238E27FC236}">
                <a16:creationId xmlns:a16="http://schemas.microsoft.com/office/drawing/2014/main" id="{3049D637-0810-4484-9123-BA4AB59995FF}"/>
              </a:ext>
            </a:extLst>
          </p:cNvPr>
          <p:cNvSpPr/>
          <p:nvPr/>
        </p:nvSpPr>
        <p:spPr>
          <a:xfrm>
            <a:off x="7271271" y="1602658"/>
            <a:ext cx="3177868" cy="340040"/>
          </a:xfrm>
          <a:prstGeom prst="rect">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0" cap="none" spc="0" normalizeH="0" baseline="0" noProof="0" dirty="0">
                <a:ln>
                  <a:noFill/>
                </a:ln>
                <a:solidFill>
                  <a:srgbClr val="FFFFFF"/>
                </a:solidFill>
                <a:effectLst/>
                <a:uLnTx/>
                <a:uFillTx/>
                <a:latin typeface="Arial"/>
                <a:ea typeface="+mn-ea"/>
                <a:cs typeface="+mn-cs"/>
              </a:rPr>
              <a:t>…to Balance Sheet</a:t>
            </a:r>
          </a:p>
        </p:txBody>
      </p:sp>
      <p:sp>
        <p:nvSpPr>
          <p:cNvPr id="149" name="Rectangle 148">
            <a:extLst>
              <a:ext uri="{FF2B5EF4-FFF2-40B4-BE49-F238E27FC236}">
                <a16:creationId xmlns:a16="http://schemas.microsoft.com/office/drawing/2014/main" id="{89E9CAF6-B5BD-46C5-8445-B8613D24589B}"/>
              </a:ext>
            </a:extLst>
          </p:cNvPr>
          <p:cNvSpPr/>
          <p:nvPr/>
        </p:nvSpPr>
        <p:spPr>
          <a:xfrm>
            <a:off x="7271271" y="201070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ash </a:t>
            </a:r>
          </a:p>
        </p:txBody>
      </p:sp>
      <p:sp>
        <p:nvSpPr>
          <p:cNvPr id="150" name="Rectangle 149">
            <a:extLst>
              <a:ext uri="{FF2B5EF4-FFF2-40B4-BE49-F238E27FC236}">
                <a16:creationId xmlns:a16="http://schemas.microsoft.com/office/drawing/2014/main" id="{9AA87881-EA9B-415A-9C13-0670042A9813}"/>
              </a:ext>
            </a:extLst>
          </p:cNvPr>
          <p:cNvSpPr/>
          <p:nvPr/>
        </p:nvSpPr>
        <p:spPr>
          <a:xfrm>
            <a:off x="7271271" y="238254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Receivables, net</a:t>
            </a:r>
          </a:p>
        </p:txBody>
      </p:sp>
      <p:sp>
        <p:nvSpPr>
          <p:cNvPr id="151" name="Rectangle 150">
            <a:extLst>
              <a:ext uri="{FF2B5EF4-FFF2-40B4-BE49-F238E27FC236}">
                <a16:creationId xmlns:a16="http://schemas.microsoft.com/office/drawing/2014/main" id="{A0E37D59-400A-4FE5-9013-EF6893E6BD30}"/>
              </a:ext>
            </a:extLst>
          </p:cNvPr>
          <p:cNvSpPr/>
          <p:nvPr/>
        </p:nvSpPr>
        <p:spPr>
          <a:xfrm>
            <a:off x="7271271" y="275437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Inventories</a:t>
            </a:r>
          </a:p>
        </p:txBody>
      </p:sp>
      <p:sp>
        <p:nvSpPr>
          <p:cNvPr id="152" name="Rectangle 151">
            <a:extLst>
              <a:ext uri="{FF2B5EF4-FFF2-40B4-BE49-F238E27FC236}">
                <a16:creationId xmlns:a16="http://schemas.microsoft.com/office/drawing/2014/main" id="{B6A77DFF-1F98-417A-ACE7-C4C6FDCA55F0}"/>
              </a:ext>
            </a:extLst>
          </p:cNvPr>
          <p:cNvSpPr/>
          <p:nvPr/>
        </p:nvSpPr>
        <p:spPr>
          <a:xfrm>
            <a:off x="7271271" y="312621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Property, plant and equipment, net</a:t>
            </a:r>
          </a:p>
        </p:txBody>
      </p:sp>
      <p:sp>
        <p:nvSpPr>
          <p:cNvPr id="153" name="Rectangle 152">
            <a:extLst>
              <a:ext uri="{FF2B5EF4-FFF2-40B4-BE49-F238E27FC236}">
                <a16:creationId xmlns:a16="http://schemas.microsoft.com/office/drawing/2014/main" id="{58E21784-9D30-4B36-A50C-18741BF9F33A}"/>
              </a:ext>
            </a:extLst>
          </p:cNvPr>
          <p:cNvSpPr/>
          <p:nvPr/>
        </p:nvSpPr>
        <p:spPr>
          <a:xfrm>
            <a:off x="7271271" y="349804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Other long term assets</a:t>
            </a:r>
          </a:p>
        </p:txBody>
      </p:sp>
      <p:sp>
        <p:nvSpPr>
          <p:cNvPr id="154" name="Rectangle 153">
            <a:extLst>
              <a:ext uri="{FF2B5EF4-FFF2-40B4-BE49-F238E27FC236}">
                <a16:creationId xmlns:a16="http://schemas.microsoft.com/office/drawing/2014/main" id="{341EA18A-9A62-4F77-8F0C-DEF841B64BE6}"/>
              </a:ext>
            </a:extLst>
          </p:cNvPr>
          <p:cNvSpPr/>
          <p:nvPr/>
        </p:nvSpPr>
        <p:spPr>
          <a:xfrm>
            <a:off x="7271271" y="386988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Accounts payable</a:t>
            </a:r>
          </a:p>
        </p:txBody>
      </p:sp>
      <p:sp>
        <p:nvSpPr>
          <p:cNvPr id="155" name="Rectangle 154">
            <a:extLst>
              <a:ext uri="{FF2B5EF4-FFF2-40B4-BE49-F238E27FC236}">
                <a16:creationId xmlns:a16="http://schemas.microsoft.com/office/drawing/2014/main" id="{A62312BA-93A9-4711-878B-6B94FF6C66A9}"/>
              </a:ext>
            </a:extLst>
          </p:cNvPr>
          <p:cNvSpPr/>
          <p:nvPr/>
        </p:nvSpPr>
        <p:spPr>
          <a:xfrm>
            <a:off x="7271271" y="424171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Accrued liabilities</a:t>
            </a:r>
          </a:p>
        </p:txBody>
      </p:sp>
      <p:sp>
        <p:nvSpPr>
          <p:cNvPr id="156" name="Rectangle 155">
            <a:extLst>
              <a:ext uri="{FF2B5EF4-FFF2-40B4-BE49-F238E27FC236}">
                <a16:creationId xmlns:a16="http://schemas.microsoft.com/office/drawing/2014/main" id="{95A41354-6B6E-4EE2-8B41-E2BD07F61B8E}"/>
              </a:ext>
            </a:extLst>
          </p:cNvPr>
          <p:cNvSpPr/>
          <p:nvPr/>
        </p:nvSpPr>
        <p:spPr>
          <a:xfrm>
            <a:off x="7271271" y="461355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bt</a:t>
            </a:r>
          </a:p>
        </p:txBody>
      </p:sp>
      <p:sp>
        <p:nvSpPr>
          <p:cNvPr id="157" name="Rectangle 156">
            <a:extLst>
              <a:ext uri="{FF2B5EF4-FFF2-40B4-BE49-F238E27FC236}">
                <a16:creationId xmlns:a16="http://schemas.microsoft.com/office/drawing/2014/main" id="{559EDC50-CA30-427C-8836-72895A314C55}"/>
              </a:ext>
            </a:extLst>
          </p:cNvPr>
          <p:cNvSpPr/>
          <p:nvPr/>
        </p:nvSpPr>
        <p:spPr>
          <a:xfrm>
            <a:off x="7271271" y="498538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Deferred income taxes</a:t>
            </a:r>
          </a:p>
        </p:txBody>
      </p:sp>
      <p:sp>
        <p:nvSpPr>
          <p:cNvPr id="158" name="Rectangle 157">
            <a:extLst>
              <a:ext uri="{FF2B5EF4-FFF2-40B4-BE49-F238E27FC236}">
                <a16:creationId xmlns:a16="http://schemas.microsoft.com/office/drawing/2014/main" id="{46272047-06A1-48BD-8828-36EBBAF65195}"/>
              </a:ext>
            </a:extLst>
          </p:cNvPr>
          <p:cNvSpPr/>
          <p:nvPr/>
        </p:nvSpPr>
        <p:spPr>
          <a:xfrm>
            <a:off x="7271271" y="5357219"/>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Equity</a:t>
            </a:r>
          </a:p>
        </p:txBody>
      </p:sp>
      <p:sp>
        <p:nvSpPr>
          <p:cNvPr id="159" name="Rectangle 158">
            <a:extLst>
              <a:ext uri="{FF2B5EF4-FFF2-40B4-BE49-F238E27FC236}">
                <a16:creationId xmlns:a16="http://schemas.microsoft.com/office/drawing/2014/main" id="{C95484BF-DA25-4F73-83C5-1E9E80C391AB}"/>
              </a:ext>
            </a:extLst>
          </p:cNvPr>
          <p:cNvSpPr/>
          <p:nvPr/>
        </p:nvSpPr>
        <p:spPr>
          <a:xfrm>
            <a:off x="7271271" y="572905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Retained earnings</a:t>
            </a:r>
          </a:p>
        </p:txBody>
      </p:sp>
      <p:sp>
        <p:nvSpPr>
          <p:cNvPr id="160" name="Right Brace 159">
            <a:extLst>
              <a:ext uri="{FF2B5EF4-FFF2-40B4-BE49-F238E27FC236}">
                <a16:creationId xmlns:a16="http://schemas.microsoft.com/office/drawing/2014/main" id="{A4831A8E-7101-4293-833C-5053B3A4F6CD}"/>
              </a:ext>
            </a:extLst>
          </p:cNvPr>
          <p:cNvSpPr/>
          <p:nvPr/>
        </p:nvSpPr>
        <p:spPr>
          <a:xfrm>
            <a:off x="10464284" y="2020423"/>
            <a:ext cx="273954" cy="1713801"/>
          </a:xfrm>
          <a:prstGeom prst="righ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161" name="TextBox 160">
            <a:extLst>
              <a:ext uri="{FF2B5EF4-FFF2-40B4-BE49-F238E27FC236}">
                <a16:creationId xmlns:a16="http://schemas.microsoft.com/office/drawing/2014/main" id="{A23E6AB9-A0B8-4EAA-BDE2-2FDC22E93F9F}"/>
              </a:ext>
            </a:extLst>
          </p:cNvPr>
          <p:cNvSpPr txBox="1"/>
          <p:nvPr/>
        </p:nvSpPr>
        <p:spPr>
          <a:xfrm>
            <a:off x="10546059" y="2758794"/>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Asset</a:t>
            </a:r>
          </a:p>
        </p:txBody>
      </p:sp>
      <p:sp>
        <p:nvSpPr>
          <p:cNvPr id="162" name="Right Brace 161">
            <a:extLst>
              <a:ext uri="{FF2B5EF4-FFF2-40B4-BE49-F238E27FC236}">
                <a16:creationId xmlns:a16="http://schemas.microsoft.com/office/drawing/2014/main" id="{3FA993CE-56A2-4660-9D49-6EA975F792CE}"/>
              </a:ext>
            </a:extLst>
          </p:cNvPr>
          <p:cNvSpPr/>
          <p:nvPr/>
        </p:nvSpPr>
        <p:spPr>
          <a:xfrm>
            <a:off x="10464284" y="3846921"/>
            <a:ext cx="273954" cy="1468972"/>
          </a:xfrm>
          <a:prstGeom prst="righ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163" name="TextBox 162">
            <a:extLst>
              <a:ext uri="{FF2B5EF4-FFF2-40B4-BE49-F238E27FC236}">
                <a16:creationId xmlns:a16="http://schemas.microsoft.com/office/drawing/2014/main" id="{3686A1BA-45D3-40DA-A6C2-C2C4695052EB}"/>
              </a:ext>
            </a:extLst>
          </p:cNvPr>
          <p:cNvSpPr txBox="1"/>
          <p:nvPr/>
        </p:nvSpPr>
        <p:spPr>
          <a:xfrm>
            <a:off x="10643897" y="4458993"/>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Liabilities</a:t>
            </a:r>
          </a:p>
        </p:txBody>
      </p:sp>
      <p:sp>
        <p:nvSpPr>
          <p:cNvPr id="164" name="Right Brace 163">
            <a:extLst>
              <a:ext uri="{FF2B5EF4-FFF2-40B4-BE49-F238E27FC236}">
                <a16:creationId xmlns:a16="http://schemas.microsoft.com/office/drawing/2014/main" id="{68EE5A95-8A28-4F83-87D6-209DBBDD4D33}"/>
              </a:ext>
            </a:extLst>
          </p:cNvPr>
          <p:cNvSpPr/>
          <p:nvPr/>
        </p:nvSpPr>
        <p:spPr>
          <a:xfrm>
            <a:off x="10464284" y="5343096"/>
            <a:ext cx="273954" cy="652877"/>
          </a:xfrm>
          <a:prstGeom prst="rightBrace">
            <a:avLst>
              <a:gd name="adj1" fmla="val 22689"/>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165" name="TextBox 164">
            <a:extLst>
              <a:ext uri="{FF2B5EF4-FFF2-40B4-BE49-F238E27FC236}">
                <a16:creationId xmlns:a16="http://schemas.microsoft.com/office/drawing/2014/main" id="{DB0564CF-8B6B-4186-AB1D-87FE43CF0391}"/>
              </a:ext>
            </a:extLst>
          </p:cNvPr>
          <p:cNvSpPr txBox="1"/>
          <p:nvPr/>
        </p:nvSpPr>
        <p:spPr>
          <a:xfrm>
            <a:off x="10546059" y="5547120"/>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Equity</a:t>
            </a:r>
          </a:p>
        </p:txBody>
      </p:sp>
      <p:cxnSp>
        <p:nvCxnSpPr>
          <p:cNvPr id="166" name="Elbow Connector 6">
            <a:extLst>
              <a:ext uri="{FF2B5EF4-FFF2-40B4-BE49-F238E27FC236}">
                <a16:creationId xmlns:a16="http://schemas.microsoft.com/office/drawing/2014/main" id="{7C0D411F-9676-4BED-BB55-6BF2EA9BA5F3}"/>
              </a:ext>
            </a:extLst>
          </p:cNvPr>
          <p:cNvCxnSpPr>
            <a:stCxn id="141" idx="3"/>
            <a:endCxn id="149" idx="1"/>
          </p:cNvCxnSpPr>
          <p:nvPr/>
        </p:nvCxnSpPr>
        <p:spPr>
          <a:xfrm flipV="1">
            <a:off x="4988320" y="2141343"/>
            <a:ext cx="2282951" cy="4148486"/>
          </a:xfrm>
          <a:prstGeom prst="bentConnector3">
            <a:avLst/>
          </a:prstGeom>
          <a:noFill/>
          <a:ln w="9525" cap="flat" cmpd="sng" algn="ctr">
            <a:solidFill>
              <a:srgbClr val="00B050"/>
            </a:solidFill>
            <a:prstDash val="solid"/>
            <a:tailEnd type="triangle"/>
          </a:ln>
          <a:effectLst/>
        </p:spPr>
      </p:cxnSp>
      <p:cxnSp>
        <p:nvCxnSpPr>
          <p:cNvPr id="167" name="Elbow Connector 10">
            <a:extLst>
              <a:ext uri="{FF2B5EF4-FFF2-40B4-BE49-F238E27FC236}">
                <a16:creationId xmlns:a16="http://schemas.microsoft.com/office/drawing/2014/main" id="{5599F7EC-2851-4330-81C5-64FEBCFFF5E9}"/>
              </a:ext>
            </a:extLst>
          </p:cNvPr>
          <p:cNvCxnSpPr/>
          <p:nvPr/>
        </p:nvCxnSpPr>
        <p:spPr>
          <a:xfrm>
            <a:off x="4988320" y="2078714"/>
            <a:ext cx="2282951" cy="3718345"/>
          </a:xfrm>
          <a:prstGeom prst="bentConnector3">
            <a:avLst>
              <a:gd name="adj1" fmla="val 21714"/>
            </a:avLst>
          </a:prstGeom>
          <a:noFill/>
          <a:ln w="9525" cap="flat" cmpd="sng" algn="ctr">
            <a:solidFill>
              <a:srgbClr val="002776">
                <a:shade val="95000"/>
                <a:satMod val="105000"/>
              </a:srgbClr>
            </a:solidFill>
            <a:prstDash val="solid"/>
            <a:tailEnd type="triangle"/>
          </a:ln>
          <a:effectLst/>
        </p:spPr>
      </p:cxnSp>
      <p:cxnSp>
        <p:nvCxnSpPr>
          <p:cNvPr id="168" name="Elbow Connector 26">
            <a:extLst>
              <a:ext uri="{FF2B5EF4-FFF2-40B4-BE49-F238E27FC236}">
                <a16:creationId xmlns:a16="http://schemas.microsoft.com/office/drawing/2014/main" id="{6890456D-A16B-4049-8AE5-A0F3BDCE4A02}"/>
              </a:ext>
            </a:extLst>
          </p:cNvPr>
          <p:cNvCxnSpPr/>
          <p:nvPr/>
        </p:nvCxnSpPr>
        <p:spPr>
          <a:xfrm>
            <a:off x="4988320" y="5554190"/>
            <a:ext cx="2282951" cy="371831"/>
          </a:xfrm>
          <a:prstGeom prst="bentConnector3">
            <a:avLst>
              <a:gd name="adj1" fmla="val 55143"/>
            </a:avLst>
          </a:prstGeom>
          <a:noFill/>
          <a:ln w="9525" cap="flat" cmpd="sng" algn="ctr">
            <a:solidFill>
              <a:srgbClr val="002776">
                <a:lumMod val="40000"/>
                <a:lumOff val="60000"/>
              </a:srgbClr>
            </a:solidFill>
            <a:prstDash val="solid"/>
            <a:tailEnd type="triangle"/>
          </a:ln>
          <a:effectLst/>
        </p:spPr>
      </p:cxnSp>
      <p:cxnSp>
        <p:nvCxnSpPr>
          <p:cNvPr id="169" name="Elbow Connector 82">
            <a:extLst>
              <a:ext uri="{FF2B5EF4-FFF2-40B4-BE49-F238E27FC236}">
                <a16:creationId xmlns:a16="http://schemas.microsoft.com/office/drawing/2014/main" id="{639204E2-D36C-4CA4-B6FF-CE7B5DDE712C}"/>
              </a:ext>
            </a:extLst>
          </p:cNvPr>
          <p:cNvCxnSpPr>
            <a:stCxn id="140" idx="3"/>
            <a:endCxn id="158" idx="1"/>
          </p:cNvCxnSpPr>
          <p:nvPr/>
        </p:nvCxnSpPr>
        <p:spPr>
          <a:xfrm flipV="1">
            <a:off x="4988320" y="5487856"/>
            <a:ext cx="2282951" cy="456266"/>
          </a:xfrm>
          <a:prstGeom prst="bentConnector3">
            <a:avLst>
              <a:gd name="adj1" fmla="val 80857"/>
            </a:avLst>
          </a:prstGeom>
          <a:noFill/>
          <a:ln w="9525" cap="flat" cmpd="sng" algn="ctr">
            <a:solidFill>
              <a:srgbClr val="002776">
                <a:shade val="95000"/>
                <a:satMod val="105000"/>
              </a:srgbClr>
            </a:solidFill>
            <a:prstDash val="solid"/>
            <a:tailEnd type="triangle"/>
          </a:ln>
          <a:effectLst/>
        </p:spPr>
      </p:cxnSp>
      <p:cxnSp>
        <p:nvCxnSpPr>
          <p:cNvPr id="170" name="Elbow Connector 84">
            <a:extLst>
              <a:ext uri="{FF2B5EF4-FFF2-40B4-BE49-F238E27FC236}">
                <a16:creationId xmlns:a16="http://schemas.microsoft.com/office/drawing/2014/main" id="{519A1AAB-0001-4309-841E-56BA4A146E78}"/>
              </a:ext>
            </a:extLst>
          </p:cNvPr>
          <p:cNvCxnSpPr>
            <a:stCxn id="138" idx="3"/>
            <a:endCxn id="156" idx="1"/>
          </p:cNvCxnSpPr>
          <p:nvPr/>
        </p:nvCxnSpPr>
        <p:spPr>
          <a:xfrm flipV="1">
            <a:off x="4988320" y="4744187"/>
            <a:ext cx="2282951" cy="508520"/>
          </a:xfrm>
          <a:prstGeom prst="bentConnector3">
            <a:avLst>
              <a:gd name="adj1" fmla="val 61429"/>
            </a:avLst>
          </a:prstGeom>
          <a:noFill/>
          <a:ln w="9525" cap="flat" cmpd="sng" algn="ctr">
            <a:solidFill>
              <a:srgbClr val="7030A0"/>
            </a:solidFill>
            <a:prstDash val="solid"/>
            <a:tailEnd type="triangle"/>
          </a:ln>
          <a:effectLst/>
        </p:spPr>
      </p:cxnSp>
      <p:cxnSp>
        <p:nvCxnSpPr>
          <p:cNvPr id="171" name="Elbow Connector 86">
            <a:extLst>
              <a:ext uri="{FF2B5EF4-FFF2-40B4-BE49-F238E27FC236}">
                <a16:creationId xmlns:a16="http://schemas.microsoft.com/office/drawing/2014/main" id="{110EBBD5-6F32-42BD-9E5D-DE4F1FE6D9E3}"/>
              </a:ext>
            </a:extLst>
          </p:cNvPr>
          <p:cNvCxnSpPr/>
          <p:nvPr/>
        </p:nvCxnSpPr>
        <p:spPr>
          <a:xfrm flipV="1">
            <a:off x="4988320" y="3222843"/>
            <a:ext cx="2282951" cy="1304446"/>
          </a:xfrm>
          <a:prstGeom prst="bentConnector3">
            <a:avLst>
              <a:gd name="adj1" fmla="val 31429"/>
            </a:avLst>
          </a:prstGeom>
          <a:noFill/>
          <a:ln w="9525" cap="flat" cmpd="sng" algn="ctr">
            <a:solidFill>
              <a:srgbClr val="FF0000"/>
            </a:solidFill>
            <a:prstDash val="solid"/>
            <a:tailEnd type="triangle"/>
          </a:ln>
          <a:effectLst/>
        </p:spPr>
      </p:cxnSp>
      <p:cxnSp>
        <p:nvCxnSpPr>
          <p:cNvPr id="172" name="Elbow Connector 88">
            <a:extLst>
              <a:ext uri="{FF2B5EF4-FFF2-40B4-BE49-F238E27FC236}">
                <a16:creationId xmlns:a16="http://schemas.microsoft.com/office/drawing/2014/main" id="{EE2E777D-CC59-4C49-801A-ABBC8748A137}"/>
              </a:ext>
            </a:extLst>
          </p:cNvPr>
          <p:cNvCxnSpPr>
            <a:stCxn id="137" idx="3"/>
            <a:endCxn id="153" idx="1"/>
          </p:cNvCxnSpPr>
          <p:nvPr/>
        </p:nvCxnSpPr>
        <p:spPr>
          <a:xfrm flipV="1">
            <a:off x="4988320" y="3628682"/>
            <a:ext cx="2282951" cy="1278318"/>
          </a:xfrm>
          <a:prstGeom prst="bentConnector3">
            <a:avLst>
              <a:gd name="adj1" fmla="val 40571"/>
            </a:avLst>
          </a:prstGeom>
          <a:noFill/>
          <a:ln w="9525" cap="flat" cmpd="sng" algn="ctr">
            <a:solidFill>
              <a:srgbClr val="FFFFFF">
                <a:lumMod val="50000"/>
              </a:srgbClr>
            </a:solidFill>
            <a:prstDash val="solid"/>
            <a:tailEnd type="triangle"/>
          </a:ln>
          <a:effectLst/>
        </p:spPr>
      </p:cxnSp>
      <p:cxnSp>
        <p:nvCxnSpPr>
          <p:cNvPr id="173" name="Elbow Connector 90">
            <a:extLst>
              <a:ext uri="{FF2B5EF4-FFF2-40B4-BE49-F238E27FC236}">
                <a16:creationId xmlns:a16="http://schemas.microsoft.com/office/drawing/2014/main" id="{C540866C-2F35-4ABD-95BA-4CF7602952E5}"/>
              </a:ext>
            </a:extLst>
          </p:cNvPr>
          <p:cNvCxnSpPr/>
          <p:nvPr/>
        </p:nvCxnSpPr>
        <p:spPr>
          <a:xfrm>
            <a:off x="4988320" y="2579349"/>
            <a:ext cx="2282951" cy="769798"/>
          </a:xfrm>
          <a:prstGeom prst="bentConnector3">
            <a:avLst>
              <a:gd name="adj1" fmla="val 61429"/>
            </a:avLst>
          </a:prstGeom>
          <a:noFill/>
          <a:ln w="9525" cap="flat" cmpd="sng" algn="ctr">
            <a:solidFill>
              <a:srgbClr val="92D400"/>
            </a:solidFill>
            <a:prstDash val="solid"/>
            <a:tailEnd type="triangle"/>
          </a:ln>
          <a:effectLst/>
        </p:spPr>
      </p:cxnSp>
      <p:cxnSp>
        <p:nvCxnSpPr>
          <p:cNvPr id="174" name="Elbow Connector 100">
            <a:extLst>
              <a:ext uri="{FF2B5EF4-FFF2-40B4-BE49-F238E27FC236}">
                <a16:creationId xmlns:a16="http://schemas.microsoft.com/office/drawing/2014/main" id="{A4852E49-2264-4900-8D8B-40E1503E884A}"/>
              </a:ext>
            </a:extLst>
          </p:cNvPr>
          <p:cNvCxnSpPr>
            <a:stCxn id="131" idx="3"/>
            <a:endCxn id="157" idx="1"/>
          </p:cNvCxnSpPr>
          <p:nvPr/>
        </p:nvCxnSpPr>
        <p:spPr>
          <a:xfrm>
            <a:off x="4988320" y="2832757"/>
            <a:ext cx="2282951" cy="2283265"/>
          </a:xfrm>
          <a:prstGeom prst="bentConnector3">
            <a:avLst>
              <a:gd name="adj1" fmla="val 76857"/>
            </a:avLst>
          </a:prstGeom>
          <a:noFill/>
          <a:ln w="9525" cap="flat" cmpd="sng" algn="ctr">
            <a:solidFill>
              <a:srgbClr val="002776">
                <a:shade val="95000"/>
                <a:satMod val="105000"/>
              </a:srgbClr>
            </a:solidFill>
            <a:prstDash val="solid"/>
            <a:tailEnd type="triangle"/>
          </a:ln>
          <a:effectLst/>
        </p:spPr>
      </p:cxnSp>
      <p:cxnSp>
        <p:nvCxnSpPr>
          <p:cNvPr id="175" name="Elbow Connector 103">
            <a:extLst>
              <a:ext uri="{FF2B5EF4-FFF2-40B4-BE49-F238E27FC236}">
                <a16:creationId xmlns:a16="http://schemas.microsoft.com/office/drawing/2014/main" id="{6251F74E-DB98-4B14-9FA2-C887E95AB7A9}"/>
              </a:ext>
            </a:extLst>
          </p:cNvPr>
          <p:cNvCxnSpPr>
            <a:stCxn id="132" idx="3"/>
            <a:endCxn id="150" idx="1"/>
          </p:cNvCxnSpPr>
          <p:nvPr/>
        </p:nvCxnSpPr>
        <p:spPr>
          <a:xfrm flipV="1">
            <a:off x="4988320" y="2513178"/>
            <a:ext cx="2282951" cy="665287"/>
          </a:xfrm>
          <a:prstGeom prst="bentConnector3">
            <a:avLst>
              <a:gd name="adj1" fmla="val 88000"/>
            </a:avLst>
          </a:prstGeom>
          <a:noFill/>
          <a:ln w="9525" cap="flat" cmpd="sng" algn="ctr">
            <a:solidFill>
              <a:srgbClr val="002776">
                <a:shade val="95000"/>
                <a:satMod val="105000"/>
              </a:srgbClr>
            </a:solidFill>
            <a:prstDash val="solid"/>
            <a:tailEnd type="triangle"/>
          </a:ln>
          <a:effectLst/>
        </p:spPr>
      </p:cxnSp>
      <p:cxnSp>
        <p:nvCxnSpPr>
          <p:cNvPr id="176" name="Elbow Connector 106">
            <a:extLst>
              <a:ext uri="{FF2B5EF4-FFF2-40B4-BE49-F238E27FC236}">
                <a16:creationId xmlns:a16="http://schemas.microsoft.com/office/drawing/2014/main" id="{ECBF6B8C-14CB-4596-8762-E325906EB512}"/>
              </a:ext>
            </a:extLst>
          </p:cNvPr>
          <p:cNvCxnSpPr>
            <a:stCxn id="133" idx="3"/>
            <a:endCxn id="151" idx="1"/>
          </p:cNvCxnSpPr>
          <p:nvPr/>
        </p:nvCxnSpPr>
        <p:spPr>
          <a:xfrm flipV="1">
            <a:off x="4988320" y="2885013"/>
            <a:ext cx="2282951" cy="639159"/>
          </a:xfrm>
          <a:prstGeom prst="bentConnector3">
            <a:avLst>
              <a:gd name="adj1" fmla="val 7429"/>
            </a:avLst>
          </a:prstGeom>
          <a:noFill/>
          <a:ln w="9525" cap="flat" cmpd="sng" algn="ctr">
            <a:solidFill>
              <a:srgbClr val="002776">
                <a:shade val="95000"/>
                <a:satMod val="105000"/>
              </a:srgbClr>
            </a:solidFill>
            <a:prstDash val="solid"/>
            <a:tailEnd type="triangle"/>
          </a:ln>
          <a:effectLst/>
        </p:spPr>
      </p:cxnSp>
      <p:cxnSp>
        <p:nvCxnSpPr>
          <p:cNvPr id="177" name="Elbow Connector 109">
            <a:extLst>
              <a:ext uri="{FF2B5EF4-FFF2-40B4-BE49-F238E27FC236}">
                <a16:creationId xmlns:a16="http://schemas.microsoft.com/office/drawing/2014/main" id="{C59F8AA7-2017-4D5A-8358-083C745B2AB6}"/>
              </a:ext>
            </a:extLst>
          </p:cNvPr>
          <p:cNvCxnSpPr>
            <a:stCxn id="134" idx="3"/>
            <a:endCxn id="154" idx="1"/>
          </p:cNvCxnSpPr>
          <p:nvPr/>
        </p:nvCxnSpPr>
        <p:spPr>
          <a:xfrm>
            <a:off x="4988320" y="3869879"/>
            <a:ext cx="2282951" cy="130639"/>
          </a:xfrm>
          <a:prstGeom prst="bentConnector3">
            <a:avLst>
              <a:gd name="adj1" fmla="val 59429"/>
            </a:avLst>
          </a:prstGeom>
          <a:noFill/>
          <a:ln w="9525" cap="flat" cmpd="sng" algn="ctr">
            <a:solidFill>
              <a:srgbClr val="002776">
                <a:shade val="95000"/>
                <a:satMod val="105000"/>
              </a:srgbClr>
            </a:solidFill>
            <a:prstDash val="solid"/>
            <a:tailEnd type="triangle"/>
          </a:ln>
          <a:effectLst/>
        </p:spPr>
      </p:cxnSp>
      <p:cxnSp>
        <p:nvCxnSpPr>
          <p:cNvPr id="178" name="Elbow Connector 112">
            <a:extLst>
              <a:ext uri="{FF2B5EF4-FFF2-40B4-BE49-F238E27FC236}">
                <a16:creationId xmlns:a16="http://schemas.microsoft.com/office/drawing/2014/main" id="{55AD9532-6353-4CE1-B222-84F8345729BC}"/>
              </a:ext>
            </a:extLst>
          </p:cNvPr>
          <p:cNvCxnSpPr>
            <a:stCxn id="135" idx="3"/>
            <a:endCxn id="155" idx="1"/>
          </p:cNvCxnSpPr>
          <p:nvPr/>
        </p:nvCxnSpPr>
        <p:spPr>
          <a:xfrm>
            <a:off x="4988320" y="4215586"/>
            <a:ext cx="2282951" cy="156766"/>
          </a:xfrm>
          <a:prstGeom prst="bentConnector3">
            <a:avLst>
              <a:gd name="adj1" fmla="val 84571"/>
            </a:avLst>
          </a:prstGeom>
          <a:noFill/>
          <a:ln w="9525" cap="flat" cmpd="sng" algn="ctr">
            <a:solidFill>
              <a:srgbClr val="FFC000"/>
            </a:solidFill>
            <a:prstDash val="solid"/>
            <a:tailEnd type="triangle"/>
          </a:ln>
          <a:effectLst/>
        </p:spPr>
      </p:cxnSp>
    </p:spTree>
    <p:extLst>
      <p:ext uri="{BB962C8B-B14F-4D97-AF65-F5344CB8AC3E}">
        <p14:creationId xmlns:p14="http://schemas.microsoft.com/office/powerpoint/2010/main" val="42064650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22</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787253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Table of content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7" name="Text Placeholder 2">
            <a:extLst>
              <a:ext uri="{FF2B5EF4-FFF2-40B4-BE49-F238E27FC236}">
                <a16:creationId xmlns:a16="http://schemas.microsoft.com/office/drawing/2014/main" id="{0EAC8984-78B2-02F9-8A1C-A15168FE5866}"/>
              </a:ext>
            </a:extLst>
          </p:cNvPr>
          <p:cNvSpPr txBox="1">
            <a:spLocks/>
          </p:cNvSpPr>
          <p:nvPr/>
        </p:nvSpPr>
        <p:spPr>
          <a:xfrm>
            <a:off x="626012" y="1765121"/>
            <a:ext cx="6889213" cy="2092881"/>
          </a:xfrm>
          <a:prstGeom prst="rect">
            <a:avLst/>
          </a:prstGeom>
        </p:spPr>
        <p:txBody>
          <a:bodyPr vert="horz" wrap="square" lIns="91440" tIns="45720" rIns="91440" bIns="45720" rtlCol="0">
            <a:spAutoFit/>
          </a:bodyPr>
          <a:lst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4013" indent="-239713">
              <a:lnSpc>
                <a:spcPct val="100000"/>
              </a:lnSpc>
              <a:spcBef>
                <a:spcPts val="600"/>
              </a:spcBef>
              <a:spcAft>
                <a:spcPts val="600"/>
              </a:spcAft>
              <a:buFont typeface="+mj-lt"/>
              <a:buAutoNum type="arabicPeriod"/>
              <a:defRPr/>
            </a:pPr>
            <a:r>
              <a:rPr lang="en-GB" sz="1800" b="1" dirty="0">
                <a:solidFill>
                  <a:schemeClr val="accent2"/>
                </a:solidFill>
              </a:rPr>
              <a:t>Financial analysis</a:t>
            </a:r>
          </a:p>
          <a:p>
            <a:pPr marL="354013" indent="-239713">
              <a:lnSpc>
                <a:spcPct val="100000"/>
              </a:lnSpc>
              <a:spcBef>
                <a:spcPts val="600"/>
              </a:spcBef>
              <a:spcAft>
                <a:spcPts val="600"/>
              </a:spcAft>
              <a:buFont typeface="+mj-lt"/>
              <a:buAutoNum type="arabicPeriod"/>
              <a:defRPr/>
            </a:pPr>
            <a:r>
              <a:rPr lang="en-GB" sz="1800" b="1" dirty="0">
                <a:solidFill>
                  <a:schemeClr val="accent1"/>
                </a:solidFill>
              </a:rPr>
              <a:t>Income statement</a:t>
            </a:r>
          </a:p>
          <a:p>
            <a:pPr marL="354013" indent="-239713">
              <a:lnSpc>
                <a:spcPct val="100000"/>
              </a:lnSpc>
              <a:spcBef>
                <a:spcPts val="600"/>
              </a:spcBef>
              <a:spcAft>
                <a:spcPts val="600"/>
              </a:spcAft>
              <a:buFont typeface="+mj-lt"/>
              <a:buAutoNum type="arabicPeriod"/>
              <a:defRPr/>
            </a:pPr>
            <a:r>
              <a:rPr lang="en-GB" sz="1800" b="1" dirty="0">
                <a:solidFill>
                  <a:schemeClr val="accent1"/>
                </a:solidFill>
              </a:rPr>
              <a:t>Balance sheet statement</a:t>
            </a:r>
          </a:p>
          <a:p>
            <a:pPr marL="354013" indent="-239713">
              <a:lnSpc>
                <a:spcPct val="100000"/>
              </a:lnSpc>
              <a:spcBef>
                <a:spcPts val="600"/>
              </a:spcBef>
              <a:spcAft>
                <a:spcPts val="600"/>
              </a:spcAft>
              <a:buFont typeface="+mj-lt"/>
              <a:buAutoNum type="arabicPeriod"/>
              <a:defRPr/>
            </a:pPr>
            <a:r>
              <a:rPr lang="en-GB" sz="1800" b="1" dirty="0">
                <a:solidFill>
                  <a:schemeClr val="accent1"/>
                </a:solidFill>
              </a:rPr>
              <a:t>Cash flow statement</a:t>
            </a:r>
          </a:p>
          <a:p>
            <a:pPr marL="354013" indent="-239713">
              <a:lnSpc>
                <a:spcPct val="100000"/>
              </a:lnSpc>
              <a:spcBef>
                <a:spcPts val="600"/>
              </a:spcBef>
              <a:spcAft>
                <a:spcPts val="600"/>
              </a:spcAft>
              <a:buFont typeface="+mj-lt"/>
              <a:buAutoNum type="arabicPeriod"/>
              <a:defRPr/>
            </a:pPr>
            <a:r>
              <a:rPr lang="en-GB" sz="1800" b="1" dirty="0">
                <a:solidFill>
                  <a:schemeClr val="tx1"/>
                </a:solidFill>
              </a:rPr>
              <a:t>Link between the 3 financial statements</a:t>
            </a:r>
          </a:p>
        </p:txBody>
      </p:sp>
      <p:sp>
        <p:nvSpPr>
          <p:cNvPr id="8" name="Rectangle 7">
            <a:extLst>
              <a:ext uri="{FF2B5EF4-FFF2-40B4-BE49-F238E27FC236}">
                <a16:creationId xmlns:a16="http://schemas.microsoft.com/office/drawing/2014/main" id="{99F56AE0-3467-F056-206D-B318AA8D2254}"/>
              </a:ext>
            </a:extLst>
          </p:cNvPr>
          <p:cNvSpPr/>
          <p:nvPr/>
        </p:nvSpPr>
        <p:spPr>
          <a:xfrm>
            <a:off x="631874" y="1792016"/>
            <a:ext cx="145365" cy="19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30396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Financial Analysis</a:t>
            </a:r>
            <a:br>
              <a:rPr lang="en-US" sz="2400" kern="0" dirty="0"/>
            </a:br>
            <a:r>
              <a:rPr lang="en-US" sz="2400" b="0" kern="0" dirty="0"/>
              <a:t>Purpos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6" name="Rectangle: Folded Corner 5">
            <a:extLst>
              <a:ext uri="{FF2B5EF4-FFF2-40B4-BE49-F238E27FC236}">
                <a16:creationId xmlns:a16="http://schemas.microsoft.com/office/drawing/2014/main" id="{CAE12A66-C584-4FE1-840C-1010CD0E4B8E}"/>
              </a:ext>
            </a:extLst>
          </p:cNvPr>
          <p:cNvSpPr/>
          <p:nvPr/>
        </p:nvSpPr>
        <p:spPr>
          <a:xfrm>
            <a:off x="4308764" y="2253237"/>
            <a:ext cx="3574472" cy="3763099"/>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Isosceles Triangle 7">
            <a:extLst>
              <a:ext uri="{FF2B5EF4-FFF2-40B4-BE49-F238E27FC236}">
                <a16:creationId xmlns:a16="http://schemas.microsoft.com/office/drawing/2014/main" id="{D2962D1E-EEF7-4268-949B-53BA1E0CFDEF}"/>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 name="Oval 8">
            <a:extLst>
              <a:ext uri="{FF2B5EF4-FFF2-40B4-BE49-F238E27FC236}">
                <a16:creationId xmlns:a16="http://schemas.microsoft.com/office/drawing/2014/main" id="{1296090E-64AD-416D-85C5-F37A870443EA}"/>
              </a:ext>
            </a:extLst>
          </p:cNvPr>
          <p:cNvSpPr/>
          <p:nvPr/>
        </p:nvSpPr>
        <p:spPr bwMode="auto">
          <a:xfrm>
            <a:off x="6088650" y="1957867"/>
            <a:ext cx="182881" cy="182881"/>
          </a:xfrm>
          <a:prstGeom prst="ellipse">
            <a:avLst/>
          </a:prstGeom>
          <a:gradFill flip="none" rotWithShape="1">
            <a:gsLst>
              <a:gs pos="40000">
                <a:schemeClr val="tx1"/>
              </a:gs>
              <a:gs pos="100000">
                <a:schemeClr val="bg1">
                  <a:lumMod val="85000"/>
                  <a:shade val="100000"/>
                  <a:satMod val="115000"/>
                </a:schemeClr>
              </a:gs>
            </a:gsLst>
            <a:path path="circle">
              <a:fillToRect l="100000" t="100000"/>
            </a:path>
            <a:tileRect r="-100000" b="-100000"/>
          </a:gra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 name="TextBox 9">
            <a:extLst>
              <a:ext uri="{FF2B5EF4-FFF2-40B4-BE49-F238E27FC236}">
                <a16:creationId xmlns:a16="http://schemas.microsoft.com/office/drawing/2014/main" id="{114A38D2-F6B3-47EB-8FC2-B3551D3B040C}"/>
              </a:ext>
            </a:extLst>
          </p:cNvPr>
          <p:cNvSpPr txBox="1"/>
          <p:nvPr/>
        </p:nvSpPr>
        <p:spPr>
          <a:xfrm>
            <a:off x="4484435" y="2795958"/>
            <a:ext cx="3223131" cy="2677656"/>
          </a:xfrm>
          <a:prstGeom prst="rect">
            <a:avLst/>
          </a:prstGeom>
          <a:noFill/>
        </p:spPr>
        <p:txBody>
          <a:bodyPr wrap="square" rtlCol="0" anchor="ctr">
            <a:spAutoFit/>
          </a:bodyPr>
          <a:lstStyle/>
          <a:p>
            <a:r>
              <a:rPr lang="en-US" sz="2400" b="1" dirty="0"/>
              <a:t>Financial analysis, based on financial statements, is the foundation for determining the financial health of a company.</a:t>
            </a:r>
          </a:p>
        </p:txBody>
      </p:sp>
    </p:spTree>
    <p:extLst>
      <p:ext uri="{BB962C8B-B14F-4D97-AF65-F5344CB8AC3E}">
        <p14:creationId xmlns:p14="http://schemas.microsoft.com/office/powerpoint/2010/main" val="8566128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6">
            <a:extLst>
              <a:ext uri="{FF2B5EF4-FFF2-40B4-BE49-F238E27FC236}">
                <a16:creationId xmlns:a16="http://schemas.microsoft.com/office/drawing/2014/main" id="{3F20B2E8-64A3-4C82-AD1E-AF23D9987E83}"/>
              </a:ext>
            </a:extLst>
          </p:cNvPr>
          <p:cNvSpPr>
            <a:spLocks noChangeArrowheads="1"/>
          </p:cNvSpPr>
          <p:nvPr/>
        </p:nvSpPr>
        <p:spPr bwMode="auto">
          <a:xfrm>
            <a:off x="623455" y="2784764"/>
            <a:ext cx="3289112" cy="2159135"/>
          </a:xfrm>
          <a:prstGeom prst="rect">
            <a:avLst/>
          </a:prstGeom>
          <a:solidFill>
            <a:schemeClr val="bg1"/>
          </a:solidFill>
          <a:ln w="12700">
            <a:noFill/>
            <a:miter lim="800000"/>
            <a:headEnd/>
            <a:tailEnd/>
          </a:ln>
          <a:effectLst/>
        </p:spPr>
        <p:txBody>
          <a:bodyPr anchor="t"/>
          <a:lstStyle/>
          <a:p>
            <a:pPr marL="114300" algn="ctr">
              <a:spcBef>
                <a:spcPts val="200"/>
              </a:spcBef>
              <a:spcAft>
                <a:spcPts val="200"/>
              </a:spcAft>
            </a:pPr>
            <a:endParaRPr lang="en-US" i="1" dirty="0">
              <a:solidFill>
                <a:srgbClr val="002060"/>
              </a:solidFill>
            </a:endParaRPr>
          </a:p>
        </p:txBody>
      </p:sp>
      <p:sp>
        <p:nvSpPr>
          <p:cNvPr id="17" name="Rectangle 6">
            <a:extLst>
              <a:ext uri="{FF2B5EF4-FFF2-40B4-BE49-F238E27FC236}">
                <a16:creationId xmlns:a16="http://schemas.microsoft.com/office/drawing/2014/main" id="{C0B45E68-2D62-4F6C-A62C-1012248A17C7}"/>
              </a:ext>
            </a:extLst>
          </p:cNvPr>
          <p:cNvSpPr>
            <a:spLocks noChangeArrowheads="1"/>
          </p:cNvSpPr>
          <p:nvPr/>
        </p:nvSpPr>
        <p:spPr bwMode="auto">
          <a:xfrm>
            <a:off x="4460753" y="2784764"/>
            <a:ext cx="3289112" cy="2159135"/>
          </a:xfrm>
          <a:prstGeom prst="rect">
            <a:avLst/>
          </a:prstGeom>
          <a:solidFill>
            <a:schemeClr val="bg1"/>
          </a:solidFill>
          <a:ln w="12700">
            <a:noFill/>
            <a:miter lim="800000"/>
            <a:headEnd/>
            <a:tailEnd/>
          </a:ln>
          <a:effectLst/>
        </p:spPr>
        <p:txBody>
          <a:bodyPr anchor="t"/>
          <a:lstStyle/>
          <a:p>
            <a:pPr lvl="0" algn="ctr">
              <a:defRPr/>
            </a:pPr>
            <a:endParaRPr lang="en-US" b="1" kern="0" dirty="0"/>
          </a:p>
        </p:txBody>
      </p:sp>
      <p:sp>
        <p:nvSpPr>
          <p:cNvPr id="18" name="Rectangle 6">
            <a:extLst>
              <a:ext uri="{FF2B5EF4-FFF2-40B4-BE49-F238E27FC236}">
                <a16:creationId xmlns:a16="http://schemas.microsoft.com/office/drawing/2014/main" id="{25F15288-78A8-421E-84D9-70D5DE046682}"/>
              </a:ext>
            </a:extLst>
          </p:cNvPr>
          <p:cNvSpPr>
            <a:spLocks noChangeArrowheads="1"/>
          </p:cNvSpPr>
          <p:nvPr/>
        </p:nvSpPr>
        <p:spPr bwMode="auto">
          <a:xfrm>
            <a:off x="8298050" y="2784764"/>
            <a:ext cx="3289112" cy="2159135"/>
          </a:xfrm>
          <a:prstGeom prst="rect">
            <a:avLst/>
          </a:prstGeom>
          <a:solidFill>
            <a:schemeClr val="bg1"/>
          </a:solidFill>
          <a:ln w="12700">
            <a:noFill/>
            <a:miter lim="800000"/>
            <a:headEnd/>
            <a:tailEnd/>
          </a:ln>
          <a:effectLst/>
        </p:spPr>
        <p:txBody>
          <a:bodyPr anchor="t"/>
          <a:lstStyle/>
          <a:p>
            <a:pPr lvl="0" algn="ctr">
              <a:defRPr/>
            </a:pPr>
            <a:endParaRPr lang="en-US" b="1" kern="0" dirty="0"/>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Financial Analysis</a:t>
            </a:r>
            <a:br>
              <a:rPr lang="en-US" sz="2400" kern="0" dirty="0"/>
            </a:br>
            <a:r>
              <a:rPr lang="en-US" sz="2400" b="0" kern="0" dirty="0"/>
              <a:t>We are going to analyze the 3 key financial statem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19" name="Rectangle 6">
            <a:extLst>
              <a:ext uri="{FF2B5EF4-FFF2-40B4-BE49-F238E27FC236}">
                <a16:creationId xmlns:a16="http://schemas.microsoft.com/office/drawing/2014/main" id="{4D94D676-BEB9-499B-99A8-B5B8FABDF98F}"/>
              </a:ext>
            </a:extLst>
          </p:cNvPr>
          <p:cNvSpPr>
            <a:spLocks noChangeArrowheads="1"/>
          </p:cNvSpPr>
          <p:nvPr/>
        </p:nvSpPr>
        <p:spPr bwMode="auto">
          <a:xfrm>
            <a:off x="749291" y="3872370"/>
            <a:ext cx="3037440" cy="974626"/>
          </a:xfrm>
          <a:prstGeom prst="rect">
            <a:avLst/>
          </a:prstGeom>
          <a:noFill/>
          <a:ln w="12700">
            <a:noFill/>
            <a:miter lim="800000"/>
            <a:headEnd/>
            <a:tailEnd/>
          </a:ln>
          <a:effectLst/>
        </p:spPr>
        <p:txBody>
          <a:bodyPr anchor="t">
            <a:spAutoFit/>
          </a:bodyPr>
          <a:lstStyle/>
          <a:p>
            <a:pPr marL="114300" algn="ctr">
              <a:spcBef>
                <a:spcPts val="200"/>
              </a:spcBef>
              <a:spcAft>
                <a:spcPts val="200"/>
              </a:spcAft>
            </a:pPr>
            <a:r>
              <a:rPr lang="en-US" b="1" dirty="0">
                <a:solidFill>
                  <a:srgbClr val="002060"/>
                </a:solidFill>
              </a:rPr>
              <a:t>Income Statement </a:t>
            </a:r>
          </a:p>
          <a:p>
            <a:pPr marL="114300" algn="ctr">
              <a:spcBef>
                <a:spcPts val="200"/>
              </a:spcBef>
              <a:spcAft>
                <a:spcPts val="200"/>
              </a:spcAft>
            </a:pPr>
            <a:r>
              <a:rPr lang="en-US" i="1" dirty="0">
                <a:solidFill>
                  <a:srgbClr val="002060"/>
                </a:solidFill>
              </a:rPr>
              <a:t>(also called Profit &amp; Loss statement)</a:t>
            </a:r>
          </a:p>
        </p:txBody>
      </p:sp>
      <p:sp>
        <p:nvSpPr>
          <p:cNvPr id="20" name="Rectangle 6">
            <a:extLst>
              <a:ext uri="{FF2B5EF4-FFF2-40B4-BE49-F238E27FC236}">
                <a16:creationId xmlns:a16="http://schemas.microsoft.com/office/drawing/2014/main" id="{17F56830-D0FB-4D55-9DB2-DD68929315A0}"/>
              </a:ext>
            </a:extLst>
          </p:cNvPr>
          <p:cNvSpPr>
            <a:spLocks noChangeArrowheads="1"/>
          </p:cNvSpPr>
          <p:nvPr/>
        </p:nvSpPr>
        <p:spPr bwMode="auto">
          <a:xfrm>
            <a:off x="4586589" y="3872370"/>
            <a:ext cx="3037440" cy="646331"/>
          </a:xfrm>
          <a:prstGeom prst="rect">
            <a:avLst/>
          </a:prstGeom>
          <a:noFill/>
          <a:ln w="12700">
            <a:noFill/>
            <a:miter lim="800000"/>
            <a:headEnd/>
            <a:tailEnd/>
          </a:ln>
          <a:effectLst/>
        </p:spPr>
        <p:txBody>
          <a:bodyPr anchor="t">
            <a:spAutoFit/>
          </a:bodyPr>
          <a:lstStyle/>
          <a:p>
            <a:pPr lvl="0" algn="ctr">
              <a:defRPr/>
            </a:pPr>
            <a:r>
              <a:rPr lang="en-US" b="1" kern="0" dirty="0"/>
              <a:t>Balance </a:t>
            </a:r>
            <a:br>
              <a:rPr lang="en-US" b="1" kern="0" dirty="0"/>
            </a:br>
            <a:r>
              <a:rPr lang="en-US" b="1" kern="0" dirty="0"/>
              <a:t>Sheet Statement</a:t>
            </a:r>
          </a:p>
        </p:txBody>
      </p:sp>
      <p:sp>
        <p:nvSpPr>
          <p:cNvPr id="21" name="Rectangle 6">
            <a:extLst>
              <a:ext uri="{FF2B5EF4-FFF2-40B4-BE49-F238E27FC236}">
                <a16:creationId xmlns:a16="http://schemas.microsoft.com/office/drawing/2014/main" id="{A8EF81C0-EE3D-488F-B1B6-43DE19422958}"/>
              </a:ext>
            </a:extLst>
          </p:cNvPr>
          <p:cNvSpPr>
            <a:spLocks noChangeArrowheads="1"/>
          </p:cNvSpPr>
          <p:nvPr/>
        </p:nvSpPr>
        <p:spPr bwMode="auto">
          <a:xfrm>
            <a:off x="8423886" y="3872370"/>
            <a:ext cx="3037440" cy="646331"/>
          </a:xfrm>
          <a:prstGeom prst="rect">
            <a:avLst/>
          </a:prstGeom>
          <a:noFill/>
          <a:ln w="12700">
            <a:noFill/>
            <a:miter lim="800000"/>
            <a:headEnd/>
            <a:tailEnd/>
          </a:ln>
          <a:effectLst/>
        </p:spPr>
        <p:txBody>
          <a:bodyPr anchor="t">
            <a:spAutoFit/>
          </a:bodyPr>
          <a:lstStyle/>
          <a:p>
            <a:pPr lvl="0" algn="ctr">
              <a:defRPr/>
            </a:pPr>
            <a:r>
              <a:rPr lang="en-US" b="1" kern="0" dirty="0"/>
              <a:t>Cash Flow </a:t>
            </a:r>
            <a:br>
              <a:rPr lang="en-US" b="1" kern="0" dirty="0"/>
            </a:br>
            <a:r>
              <a:rPr lang="en-US" b="1" kern="0" dirty="0"/>
              <a:t>Statement</a:t>
            </a:r>
          </a:p>
        </p:txBody>
      </p:sp>
      <p:pic>
        <p:nvPicPr>
          <p:cNvPr id="2" name="Picture 6" descr="Download Microsoft Excel Logo in SVG Vector or PNG File Format - Logo.wine">
            <a:extLst>
              <a:ext uri="{FF2B5EF4-FFF2-40B4-BE49-F238E27FC236}">
                <a16:creationId xmlns:a16="http://schemas.microsoft.com/office/drawing/2014/main" id="{2DA86C94-B065-7377-51AE-F477B83C2C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01875" y="3051576"/>
            <a:ext cx="1132272" cy="75484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Download Microsoft Excel Logo in SVG Vector or PNG File Format - Logo.wine">
            <a:extLst>
              <a:ext uri="{FF2B5EF4-FFF2-40B4-BE49-F238E27FC236}">
                <a16:creationId xmlns:a16="http://schemas.microsoft.com/office/drawing/2014/main" id="{D15F3701-BD9C-44E7-5680-0F36395D97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84502" y="3051576"/>
            <a:ext cx="1132272" cy="75484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Download Microsoft Excel Logo in SVG Vector or PNG File Format - Logo.wine">
            <a:extLst>
              <a:ext uri="{FF2B5EF4-FFF2-40B4-BE49-F238E27FC236}">
                <a16:creationId xmlns:a16="http://schemas.microsoft.com/office/drawing/2014/main" id="{A3C9247A-E7F8-1B4F-61D3-B168DE2E125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48112" y="3051576"/>
            <a:ext cx="1132272" cy="754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3041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Financial Analysis</a:t>
            </a:r>
            <a:br>
              <a:rPr lang="en-US" sz="2400" kern="0" dirty="0"/>
            </a:br>
            <a:r>
              <a:rPr lang="en-GB" sz="2400" b="0" kern="0" dirty="0"/>
              <a:t>The 3 financial statements capture 3 Business activitie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22" name="Freeform 8">
            <a:extLst>
              <a:ext uri="{FF2B5EF4-FFF2-40B4-BE49-F238E27FC236}">
                <a16:creationId xmlns:a16="http://schemas.microsoft.com/office/drawing/2014/main" id="{D6F9DEE6-4F2E-4110-8E47-E12A0764FFFF}"/>
              </a:ext>
            </a:extLst>
          </p:cNvPr>
          <p:cNvSpPr>
            <a:spLocks noChangeAspect="1"/>
          </p:cNvSpPr>
          <p:nvPr/>
        </p:nvSpPr>
        <p:spPr>
          <a:xfrm>
            <a:off x="4965806" y="4038829"/>
            <a:ext cx="1038936" cy="672632"/>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ea typeface="Helvetica Neue" charset="0"/>
              <a:cs typeface="Helvetica Neue" charset="0"/>
            </a:endParaRPr>
          </a:p>
        </p:txBody>
      </p:sp>
      <p:sp>
        <p:nvSpPr>
          <p:cNvPr id="23" name="Freeform 9">
            <a:extLst>
              <a:ext uri="{FF2B5EF4-FFF2-40B4-BE49-F238E27FC236}">
                <a16:creationId xmlns:a16="http://schemas.microsoft.com/office/drawing/2014/main" id="{12B8863A-9A4D-4CB9-9764-728DC8AD39CC}"/>
              </a:ext>
            </a:extLst>
          </p:cNvPr>
          <p:cNvSpPr>
            <a:spLocks noChangeAspect="1"/>
          </p:cNvSpPr>
          <p:nvPr/>
        </p:nvSpPr>
        <p:spPr>
          <a:xfrm>
            <a:off x="6004742" y="4054284"/>
            <a:ext cx="1018424" cy="655992"/>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ea typeface="Helvetica Neue" charset="0"/>
              <a:cs typeface="Helvetica Neue" charset="0"/>
            </a:endParaRPr>
          </a:p>
        </p:txBody>
      </p:sp>
      <p:sp>
        <p:nvSpPr>
          <p:cNvPr id="24" name="Freeform 10">
            <a:extLst>
              <a:ext uri="{FF2B5EF4-FFF2-40B4-BE49-F238E27FC236}">
                <a16:creationId xmlns:a16="http://schemas.microsoft.com/office/drawing/2014/main" id="{933A8F71-6BB8-4589-9957-0B06CBF883A2}"/>
              </a:ext>
            </a:extLst>
          </p:cNvPr>
          <p:cNvSpPr>
            <a:spLocks noChangeAspect="1"/>
          </p:cNvSpPr>
          <p:nvPr/>
        </p:nvSpPr>
        <p:spPr>
          <a:xfrm>
            <a:off x="5690283" y="4710276"/>
            <a:ext cx="642631" cy="1257065"/>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ea typeface="Helvetica Neue" charset="0"/>
              <a:cs typeface="Helvetica Neue" charset="0"/>
            </a:endParaRPr>
          </a:p>
        </p:txBody>
      </p:sp>
      <p:sp>
        <p:nvSpPr>
          <p:cNvPr id="25" name="Freeform 11">
            <a:extLst>
              <a:ext uri="{FF2B5EF4-FFF2-40B4-BE49-F238E27FC236}">
                <a16:creationId xmlns:a16="http://schemas.microsoft.com/office/drawing/2014/main" id="{13761C74-86BA-4980-B6B2-2A07175D1544}"/>
              </a:ext>
            </a:extLst>
          </p:cNvPr>
          <p:cNvSpPr>
            <a:spLocks noChangeAspect="1"/>
          </p:cNvSpPr>
          <p:nvPr/>
        </p:nvSpPr>
        <p:spPr>
          <a:xfrm>
            <a:off x="4865803" y="2467120"/>
            <a:ext cx="2265109" cy="192376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solidFill>
                  <a:schemeClr val="bg1"/>
                </a:solidFill>
                <a:ea typeface="Archer" charset="0"/>
                <a:cs typeface="Arial" panose="020B0604020202020204" pitchFamily="34" charset="0"/>
              </a:rPr>
              <a:t>Investing</a:t>
            </a:r>
          </a:p>
        </p:txBody>
      </p:sp>
      <p:sp>
        <p:nvSpPr>
          <p:cNvPr id="26" name="Freeform 12">
            <a:extLst>
              <a:ext uri="{FF2B5EF4-FFF2-40B4-BE49-F238E27FC236}">
                <a16:creationId xmlns:a16="http://schemas.microsoft.com/office/drawing/2014/main" id="{0A8A0D5A-03B8-40A4-B0D4-69638507CB54}"/>
              </a:ext>
            </a:extLst>
          </p:cNvPr>
          <p:cNvSpPr>
            <a:spLocks noChangeAspect="1"/>
          </p:cNvSpPr>
          <p:nvPr/>
        </p:nvSpPr>
        <p:spPr>
          <a:xfrm>
            <a:off x="4054574" y="4060781"/>
            <a:ext cx="1937418" cy="2243156"/>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solidFill>
                  <a:schemeClr val="bg1"/>
                </a:solidFill>
                <a:cs typeface="Arial" panose="020B0604020202020204" pitchFamily="34" charset="0"/>
              </a:rPr>
              <a:t> Operating </a:t>
            </a:r>
          </a:p>
        </p:txBody>
      </p:sp>
      <p:sp>
        <p:nvSpPr>
          <p:cNvPr id="27" name="Freeform 13">
            <a:extLst>
              <a:ext uri="{FF2B5EF4-FFF2-40B4-BE49-F238E27FC236}">
                <a16:creationId xmlns:a16="http://schemas.microsoft.com/office/drawing/2014/main" id="{21A73D36-78B0-4061-8685-A61FC787358C}"/>
              </a:ext>
            </a:extLst>
          </p:cNvPr>
          <p:cNvSpPr>
            <a:spLocks noChangeAspect="1"/>
          </p:cNvSpPr>
          <p:nvPr/>
        </p:nvSpPr>
        <p:spPr>
          <a:xfrm>
            <a:off x="5991992" y="4075051"/>
            <a:ext cx="1950168" cy="2244341"/>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solidFill>
                  <a:schemeClr val="bg1"/>
                </a:solidFill>
                <a:cs typeface="Arial" panose="020B0604020202020204" pitchFamily="34" charset="0"/>
              </a:rPr>
              <a:t>     Financing</a:t>
            </a:r>
          </a:p>
        </p:txBody>
      </p:sp>
      <p:sp>
        <p:nvSpPr>
          <p:cNvPr id="28" name="Freeform 14">
            <a:extLst>
              <a:ext uri="{FF2B5EF4-FFF2-40B4-BE49-F238E27FC236}">
                <a16:creationId xmlns:a16="http://schemas.microsoft.com/office/drawing/2014/main" id="{372F9159-5D20-4249-8175-0054F52D8AC2}"/>
              </a:ext>
            </a:extLst>
          </p:cNvPr>
          <p:cNvSpPr>
            <a:spLocks noChangeAspect="1"/>
          </p:cNvSpPr>
          <p:nvPr/>
        </p:nvSpPr>
        <p:spPr>
          <a:xfrm>
            <a:off x="5784800" y="4390880"/>
            <a:ext cx="434881" cy="34134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ea typeface="Helvetica Neue" charset="0"/>
              <a:cs typeface="Helvetica Neue" charset="0"/>
            </a:endParaRPr>
          </a:p>
        </p:txBody>
      </p:sp>
      <p:sp>
        <p:nvSpPr>
          <p:cNvPr id="29" name="TextBox 28">
            <a:extLst>
              <a:ext uri="{FF2B5EF4-FFF2-40B4-BE49-F238E27FC236}">
                <a16:creationId xmlns:a16="http://schemas.microsoft.com/office/drawing/2014/main" id="{E416FA7C-F049-4488-B600-8CD09461ED43}"/>
              </a:ext>
            </a:extLst>
          </p:cNvPr>
          <p:cNvSpPr txBox="1"/>
          <p:nvPr/>
        </p:nvSpPr>
        <p:spPr>
          <a:xfrm>
            <a:off x="9286604" y="2526655"/>
            <a:ext cx="2434335" cy="1466771"/>
          </a:xfrm>
          <a:prstGeom prst="rect">
            <a:avLst/>
          </a:prstGeom>
          <a:noFill/>
        </p:spPr>
        <p:txBody>
          <a:bodyPr wrap="square" lIns="80983" tIns="40493" rIns="80983" bIns="40493" rtlCol="0">
            <a:spAutoFit/>
          </a:bodyPr>
          <a:lstStyle/>
          <a:p>
            <a:pPr marL="114300" indent="-114300">
              <a:spcAft>
                <a:spcPts val="300"/>
              </a:spcAft>
              <a:buFont typeface="Arial" panose="020B0604020202020204" pitchFamily="34" charset="0"/>
              <a:buChar char="•"/>
            </a:pPr>
            <a:r>
              <a:rPr lang="en-US" sz="1600" dirty="0">
                <a:ea typeface="Archer Medium" charset="0"/>
                <a:cs typeface="Archer Medium" charset="0"/>
              </a:rPr>
              <a:t>Working Capital </a:t>
            </a:r>
          </a:p>
          <a:p>
            <a:pPr marL="114300" indent="-114300">
              <a:spcAft>
                <a:spcPts val="300"/>
              </a:spcAft>
              <a:buFont typeface="Arial" panose="020B0604020202020204" pitchFamily="34" charset="0"/>
              <a:buChar char="•"/>
            </a:pPr>
            <a:r>
              <a:rPr lang="en-US" sz="1600" dirty="0">
                <a:ea typeface="Archer Medium" charset="0"/>
                <a:cs typeface="Archer Medium" charset="0"/>
              </a:rPr>
              <a:t>Land</a:t>
            </a:r>
          </a:p>
          <a:p>
            <a:pPr marL="114300" indent="-114300">
              <a:spcAft>
                <a:spcPts val="300"/>
              </a:spcAft>
              <a:buFont typeface="Arial" panose="020B0604020202020204" pitchFamily="34" charset="0"/>
              <a:buChar char="•"/>
            </a:pPr>
            <a:r>
              <a:rPr lang="en-US" sz="1600" dirty="0">
                <a:ea typeface="Archer Medium" charset="0"/>
                <a:cs typeface="Archer Medium" charset="0"/>
              </a:rPr>
              <a:t>Buildings </a:t>
            </a:r>
          </a:p>
          <a:p>
            <a:pPr marL="114300" indent="-114300">
              <a:spcAft>
                <a:spcPts val="300"/>
              </a:spcAft>
              <a:buFont typeface="Arial" panose="020B0604020202020204" pitchFamily="34" charset="0"/>
              <a:buChar char="•"/>
            </a:pPr>
            <a:r>
              <a:rPr lang="en-US" sz="1600" dirty="0">
                <a:ea typeface="Archer Medium" charset="0"/>
                <a:cs typeface="Archer Medium" charset="0"/>
              </a:rPr>
              <a:t>Machines &amp; equipment </a:t>
            </a:r>
          </a:p>
          <a:p>
            <a:pPr marL="114300" indent="-114300">
              <a:spcAft>
                <a:spcPts val="300"/>
              </a:spcAft>
              <a:buFont typeface="Arial" panose="020B0604020202020204" pitchFamily="34" charset="0"/>
              <a:buChar char="•"/>
            </a:pPr>
            <a:r>
              <a:rPr lang="en-US" sz="1600" dirty="0">
                <a:ea typeface="Archer Medium" charset="0"/>
                <a:cs typeface="Archer Medium" charset="0"/>
              </a:rPr>
              <a:t>Intangibles</a:t>
            </a:r>
          </a:p>
        </p:txBody>
      </p:sp>
      <p:sp>
        <p:nvSpPr>
          <p:cNvPr id="30" name="TextBox 29">
            <a:extLst>
              <a:ext uri="{FF2B5EF4-FFF2-40B4-BE49-F238E27FC236}">
                <a16:creationId xmlns:a16="http://schemas.microsoft.com/office/drawing/2014/main" id="{214C31A3-E3DC-4A79-BEAE-E360293061EE}"/>
              </a:ext>
            </a:extLst>
          </p:cNvPr>
          <p:cNvSpPr txBox="1"/>
          <p:nvPr/>
        </p:nvSpPr>
        <p:spPr>
          <a:xfrm>
            <a:off x="9286604" y="4733667"/>
            <a:ext cx="2344600" cy="897385"/>
          </a:xfrm>
          <a:prstGeom prst="rect">
            <a:avLst/>
          </a:prstGeom>
          <a:noFill/>
        </p:spPr>
        <p:txBody>
          <a:bodyPr wrap="square" lIns="80983" tIns="40493" rIns="80983" bIns="40493" rtlCol="0">
            <a:spAutoFit/>
          </a:bodyPr>
          <a:lstStyle/>
          <a:p>
            <a:pPr marL="114300" indent="-114300">
              <a:spcAft>
                <a:spcPts val="300"/>
              </a:spcAft>
              <a:buFont typeface="Arial" panose="020B0604020202020204" pitchFamily="34" charset="0"/>
              <a:buChar char="•"/>
            </a:pPr>
            <a:r>
              <a:rPr lang="en-US" sz="1600" dirty="0">
                <a:ea typeface="Archer Medium" charset="0"/>
                <a:cs typeface="Archer Medium" charset="0"/>
              </a:rPr>
              <a:t>Bank debt </a:t>
            </a:r>
          </a:p>
          <a:p>
            <a:pPr marL="114300" indent="-114300">
              <a:spcAft>
                <a:spcPts val="300"/>
              </a:spcAft>
              <a:buFont typeface="Arial" panose="020B0604020202020204" pitchFamily="34" charset="0"/>
              <a:buChar char="•"/>
            </a:pPr>
            <a:r>
              <a:rPr lang="en-US" sz="1600" dirty="0">
                <a:ea typeface="Archer Medium" charset="0"/>
                <a:cs typeface="Archer Medium" charset="0"/>
              </a:rPr>
              <a:t>Corporate bonds </a:t>
            </a:r>
          </a:p>
          <a:p>
            <a:pPr marL="114300" indent="-114300">
              <a:spcAft>
                <a:spcPts val="300"/>
              </a:spcAft>
              <a:buFont typeface="Arial" panose="020B0604020202020204" pitchFamily="34" charset="0"/>
              <a:buChar char="•"/>
            </a:pPr>
            <a:r>
              <a:rPr lang="en-US" sz="1600" dirty="0">
                <a:ea typeface="Archer Medium" charset="0"/>
                <a:cs typeface="Archer Medium" charset="0"/>
              </a:rPr>
              <a:t>Shareholder equity</a:t>
            </a:r>
          </a:p>
        </p:txBody>
      </p:sp>
      <p:sp>
        <p:nvSpPr>
          <p:cNvPr id="31" name="TextBox 30">
            <a:extLst>
              <a:ext uri="{FF2B5EF4-FFF2-40B4-BE49-F238E27FC236}">
                <a16:creationId xmlns:a16="http://schemas.microsoft.com/office/drawing/2014/main" id="{41F5570F-F6CC-4E05-8433-BD1FD70ECF05}"/>
              </a:ext>
            </a:extLst>
          </p:cNvPr>
          <p:cNvSpPr txBox="1"/>
          <p:nvPr/>
        </p:nvSpPr>
        <p:spPr>
          <a:xfrm>
            <a:off x="560796" y="4306627"/>
            <a:ext cx="2151231" cy="1751465"/>
          </a:xfrm>
          <a:prstGeom prst="rect">
            <a:avLst/>
          </a:prstGeom>
          <a:noFill/>
        </p:spPr>
        <p:txBody>
          <a:bodyPr wrap="square" lIns="80983" tIns="40493" rIns="80983" bIns="40493" rtlCol="0">
            <a:spAutoFit/>
          </a:bodyPr>
          <a:lstStyle/>
          <a:p>
            <a:pPr marL="114300" indent="-114300">
              <a:spcAft>
                <a:spcPts val="300"/>
              </a:spcAft>
              <a:buFont typeface="Arial" panose="020B0604020202020204" pitchFamily="34" charset="0"/>
              <a:buChar char="•"/>
            </a:pPr>
            <a:r>
              <a:rPr lang="en-US" sz="1600" dirty="0">
                <a:ea typeface="Archer Medium" charset="0"/>
                <a:cs typeface="Archer Medium" charset="0"/>
              </a:rPr>
              <a:t>Research</a:t>
            </a:r>
          </a:p>
          <a:p>
            <a:pPr marL="114300" indent="-114300">
              <a:spcAft>
                <a:spcPts val="300"/>
              </a:spcAft>
              <a:buFont typeface="Arial" panose="020B0604020202020204" pitchFamily="34" charset="0"/>
              <a:buChar char="•"/>
            </a:pPr>
            <a:r>
              <a:rPr lang="en-US" sz="1600" dirty="0">
                <a:ea typeface="Archer Medium" charset="0"/>
                <a:cs typeface="Archer Medium" charset="0"/>
              </a:rPr>
              <a:t>Purchasing </a:t>
            </a:r>
          </a:p>
          <a:p>
            <a:pPr marL="114300" indent="-114300">
              <a:spcAft>
                <a:spcPts val="300"/>
              </a:spcAft>
              <a:buFont typeface="Arial" panose="020B0604020202020204" pitchFamily="34" charset="0"/>
              <a:buChar char="•"/>
            </a:pPr>
            <a:r>
              <a:rPr lang="en-US" sz="1600" dirty="0">
                <a:ea typeface="Archer Medium" charset="0"/>
                <a:cs typeface="Archer Medium" charset="0"/>
              </a:rPr>
              <a:t>Producing </a:t>
            </a:r>
          </a:p>
          <a:p>
            <a:pPr marL="114300" indent="-114300">
              <a:spcAft>
                <a:spcPts val="300"/>
              </a:spcAft>
              <a:buFont typeface="Arial" panose="020B0604020202020204" pitchFamily="34" charset="0"/>
              <a:buChar char="•"/>
            </a:pPr>
            <a:r>
              <a:rPr lang="en-US" sz="1600" dirty="0">
                <a:ea typeface="Archer Medium" charset="0"/>
                <a:cs typeface="Archer Medium" charset="0"/>
              </a:rPr>
              <a:t>Labor </a:t>
            </a:r>
          </a:p>
          <a:p>
            <a:pPr marL="114300" indent="-114300">
              <a:spcAft>
                <a:spcPts val="300"/>
              </a:spcAft>
              <a:buFont typeface="Arial" panose="020B0604020202020204" pitchFamily="34" charset="0"/>
              <a:buChar char="•"/>
            </a:pPr>
            <a:r>
              <a:rPr lang="en-US" sz="1600" dirty="0">
                <a:ea typeface="Archer Medium" charset="0"/>
                <a:cs typeface="Archer Medium" charset="0"/>
              </a:rPr>
              <a:t>Marketing </a:t>
            </a:r>
          </a:p>
          <a:p>
            <a:pPr marL="114300" indent="-114300">
              <a:spcAft>
                <a:spcPts val="300"/>
              </a:spcAft>
              <a:buFont typeface="Arial" panose="020B0604020202020204" pitchFamily="34" charset="0"/>
              <a:buChar char="•"/>
            </a:pPr>
            <a:r>
              <a:rPr lang="en-US" sz="1600" dirty="0">
                <a:ea typeface="Archer Medium" charset="0"/>
                <a:cs typeface="Archer Medium" charset="0"/>
              </a:rPr>
              <a:t>Sales</a:t>
            </a:r>
          </a:p>
        </p:txBody>
      </p:sp>
      <p:cxnSp>
        <p:nvCxnSpPr>
          <p:cNvPr id="7" name="Straight Connector 6">
            <a:extLst>
              <a:ext uri="{FF2B5EF4-FFF2-40B4-BE49-F238E27FC236}">
                <a16:creationId xmlns:a16="http://schemas.microsoft.com/office/drawing/2014/main" id="{E23E89E5-AE4F-4EF4-97C1-429F382F40B2}"/>
              </a:ext>
            </a:extLst>
          </p:cNvPr>
          <p:cNvCxnSpPr>
            <a:cxnSpLocks/>
          </p:cNvCxnSpPr>
          <p:nvPr/>
        </p:nvCxnSpPr>
        <p:spPr>
          <a:xfrm>
            <a:off x="2841758" y="4306627"/>
            <a:ext cx="0" cy="17514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694683-1F5B-4965-BBE7-7A98BEDCC1EE}"/>
              </a:ext>
            </a:extLst>
          </p:cNvPr>
          <p:cNvCxnSpPr>
            <a:cxnSpLocks/>
          </p:cNvCxnSpPr>
          <p:nvPr/>
        </p:nvCxnSpPr>
        <p:spPr>
          <a:xfrm>
            <a:off x="2841758" y="5182359"/>
            <a:ext cx="11379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0363F0F-6D1B-41F0-96E8-754BB5CDF22B}"/>
              </a:ext>
            </a:extLst>
          </p:cNvPr>
          <p:cNvCxnSpPr>
            <a:cxnSpLocks/>
          </p:cNvCxnSpPr>
          <p:nvPr/>
        </p:nvCxnSpPr>
        <p:spPr>
          <a:xfrm>
            <a:off x="9181195" y="4405191"/>
            <a:ext cx="0" cy="155433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46B56C1-F80B-4BEB-A6A9-0A2E9EEC9D6A}"/>
              </a:ext>
            </a:extLst>
          </p:cNvPr>
          <p:cNvCxnSpPr>
            <a:cxnSpLocks/>
          </p:cNvCxnSpPr>
          <p:nvPr/>
        </p:nvCxnSpPr>
        <p:spPr>
          <a:xfrm>
            <a:off x="8043235" y="5182359"/>
            <a:ext cx="11379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BBE87C2-BD4D-4AF1-A647-95515F0C3A30}"/>
              </a:ext>
            </a:extLst>
          </p:cNvPr>
          <p:cNvCxnSpPr>
            <a:cxnSpLocks/>
          </p:cNvCxnSpPr>
          <p:nvPr/>
        </p:nvCxnSpPr>
        <p:spPr>
          <a:xfrm>
            <a:off x="9181195" y="2482872"/>
            <a:ext cx="0" cy="155433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149D8EB-6C68-4F26-AD28-8CCCA51823CA}"/>
              </a:ext>
            </a:extLst>
          </p:cNvPr>
          <p:cNvCxnSpPr>
            <a:cxnSpLocks/>
          </p:cNvCxnSpPr>
          <p:nvPr/>
        </p:nvCxnSpPr>
        <p:spPr>
          <a:xfrm>
            <a:off x="7130912" y="3260040"/>
            <a:ext cx="205028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5256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Table of content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7" name="Text Placeholder 2">
            <a:extLst>
              <a:ext uri="{FF2B5EF4-FFF2-40B4-BE49-F238E27FC236}">
                <a16:creationId xmlns:a16="http://schemas.microsoft.com/office/drawing/2014/main" id="{0EAC8984-78B2-02F9-8A1C-A15168FE5866}"/>
              </a:ext>
            </a:extLst>
          </p:cNvPr>
          <p:cNvSpPr txBox="1">
            <a:spLocks/>
          </p:cNvSpPr>
          <p:nvPr/>
        </p:nvSpPr>
        <p:spPr>
          <a:xfrm>
            <a:off x="626012" y="1765121"/>
            <a:ext cx="6889213" cy="2092881"/>
          </a:xfrm>
          <a:prstGeom prst="rect">
            <a:avLst/>
          </a:prstGeom>
        </p:spPr>
        <p:txBody>
          <a:bodyPr vert="horz" wrap="square" lIns="91440" tIns="45720" rIns="91440" bIns="45720" rtlCol="0">
            <a:spAutoFit/>
          </a:bodyPr>
          <a:lst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4013" indent="-239713">
              <a:lnSpc>
                <a:spcPct val="100000"/>
              </a:lnSpc>
              <a:spcBef>
                <a:spcPts val="600"/>
              </a:spcBef>
              <a:spcAft>
                <a:spcPts val="600"/>
              </a:spcAft>
              <a:buFont typeface="+mj-lt"/>
              <a:buAutoNum type="arabicPeriod"/>
              <a:defRPr/>
            </a:pPr>
            <a:r>
              <a:rPr lang="en-GB" sz="1800" b="1" dirty="0">
                <a:solidFill>
                  <a:schemeClr val="accent1"/>
                </a:solidFill>
              </a:rPr>
              <a:t>Financial analysis</a:t>
            </a:r>
          </a:p>
          <a:p>
            <a:pPr marL="354013" indent="-239713">
              <a:lnSpc>
                <a:spcPct val="100000"/>
              </a:lnSpc>
              <a:spcBef>
                <a:spcPts val="600"/>
              </a:spcBef>
              <a:spcAft>
                <a:spcPts val="600"/>
              </a:spcAft>
              <a:buFont typeface="+mj-lt"/>
              <a:buAutoNum type="arabicPeriod"/>
              <a:defRPr/>
            </a:pPr>
            <a:r>
              <a:rPr lang="en-GB" sz="1800" b="1" dirty="0">
                <a:solidFill>
                  <a:schemeClr val="accent2"/>
                </a:solidFill>
              </a:rPr>
              <a:t>Income statement</a:t>
            </a:r>
          </a:p>
          <a:p>
            <a:pPr marL="354013" indent="-239713">
              <a:lnSpc>
                <a:spcPct val="100000"/>
              </a:lnSpc>
              <a:spcBef>
                <a:spcPts val="600"/>
              </a:spcBef>
              <a:spcAft>
                <a:spcPts val="600"/>
              </a:spcAft>
              <a:buFont typeface="+mj-lt"/>
              <a:buAutoNum type="arabicPeriod"/>
              <a:defRPr/>
            </a:pPr>
            <a:r>
              <a:rPr lang="en-GB" sz="1800" b="1" dirty="0">
                <a:solidFill>
                  <a:schemeClr val="accent1"/>
                </a:solidFill>
              </a:rPr>
              <a:t>Balance sheet statement</a:t>
            </a:r>
          </a:p>
          <a:p>
            <a:pPr marL="354013" indent="-239713">
              <a:lnSpc>
                <a:spcPct val="100000"/>
              </a:lnSpc>
              <a:spcBef>
                <a:spcPts val="600"/>
              </a:spcBef>
              <a:spcAft>
                <a:spcPts val="600"/>
              </a:spcAft>
              <a:buFont typeface="+mj-lt"/>
              <a:buAutoNum type="arabicPeriod"/>
              <a:defRPr/>
            </a:pPr>
            <a:r>
              <a:rPr lang="en-GB" sz="1800" b="1" dirty="0">
                <a:solidFill>
                  <a:schemeClr val="accent1"/>
                </a:solidFill>
              </a:rPr>
              <a:t>Cash flow statement</a:t>
            </a:r>
          </a:p>
          <a:p>
            <a:pPr marL="354013" indent="-239713">
              <a:lnSpc>
                <a:spcPct val="100000"/>
              </a:lnSpc>
              <a:spcBef>
                <a:spcPts val="600"/>
              </a:spcBef>
              <a:spcAft>
                <a:spcPts val="600"/>
              </a:spcAft>
              <a:buFont typeface="+mj-lt"/>
              <a:buAutoNum type="arabicPeriod"/>
              <a:defRPr/>
            </a:pPr>
            <a:r>
              <a:rPr lang="en-GB" sz="1800" b="1" dirty="0">
                <a:solidFill>
                  <a:schemeClr val="tx1"/>
                </a:solidFill>
              </a:rPr>
              <a:t>Link between the 3 financial statements</a:t>
            </a:r>
          </a:p>
        </p:txBody>
      </p:sp>
      <p:sp>
        <p:nvSpPr>
          <p:cNvPr id="8" name="Rectangle 7">
            <a:extLst>
              <a:ext uri="{FF2B5EF4-FFF2-40B4-BE49-F238E27FC236}">
                <a16:creationId xmlns:a16="http://schemas.microsoft.com/office/drawing/2014/main" id="{99F56AE0-3467-F056-206D-B318AA8D2254}"/>
              </a:ext>
            </a:extLst>
          </p:cNvPr>
          <p:cNvSpPr/>
          <p:nvPr/>
        </p:nvSpPr>
        <p:spPr>
          <a:xfrm>
            <a:off x="631874" y="1792016"/>
            <a:ext cx="145365" cy="19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55041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Folded Corner 1">
            <a:extLst>
              <a:ext uri="{FF2B5EF4-FFF2-40B4-BE49-F238E27FC236}">
                <a16:creationId xmlns:a16="http://schemas.microsoft.com/office/drawing/2014/main" id="{C8042D7C-02C6-41CC-9707-C9C5F6FA269D}"/>
              </a:ext>
            </a:extLst>
          </p:cNvPr>
          <p:cNvSpPr/>
          <p:nvPr/>
        </p:nvSpPr>
        <p:spPr>
          <a:xfrm>
            <a:off x="2286001" y="2253237"/>
            <a:ext cx="3574472" cy="3763099"/>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Rectangle: Folded Corner 22">
            <a:extLst>
              <a:ext uri="{FF2B5EF4-FFF2-40B4-BE49-F238E27FC236}">
                <a16:creationId xmlns:a16="http://schemas.microsoft.com/office/drawing/2014/main" id="{29D746AC-9404-46F0-AF21-98826BEA34D7}"/>
              </a:ext>
            </a:extLst>
          </p:cNvPr>
          <p:cNvSpPr/>
          <p:nvPr/>
        </p:nvSpPr>
        <p:spPr>
          <a:xfrm>
            <a:off x="6556665" y="2253237"/>
            <a:ext cx="3574472" cy="3763099"/>
          </a:xfrm>
          <a:prstGeom prst="foldedCorner">
            <a:avLst>
              <a:gd name="adj" fmla="val 1085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come Statement</a:t>
            </a:r>
            <a:br>
              <a:rPr lang="en-US" sz="2400" kern="0" dirty="0"/>
            </a:br>
            <a:r>
              <a:rPr lang="en-US" sz="2400" b="0" kern="0" dirty="0"/>
              <a:t>Purpos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12" name="Isosceles Triangle 11">
            <a:extLst>
              <a:ext uri="{FF2B5EF4-FFF2-40B4-BE49-F238E27FC236}">
                <a16:creationId xmlns:a16="http://schemas.microsoft.com/office/drawing/2014/main" id="{EA2082A4-127C-4507-A8BE-9B7EEDE50AA2}"/>
              </a:ext>
            </a:extLst>
          </p:cNvPr>
          <p:cNvSpPr/>
          <p:nvPr/>
        </p:nvSpPr>
        <p:spPr bwMode="auto">
          <a:xfrm rot="11821990">
            <a:off x="8215166"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4" name="Oval 13">
            <a:extLst>
              <a:ext uri="{FF2B5EF4-FFF2-40B4-BE49-F238E27FC236}">
                <a16:creationId xmlns:a16="http://schemas.microsoft.com/office/drawing/2014/main" id="{03EA018E-A365-43BC-9ED1-C9DB85665F25}"/>
              </a:ext>
            </a:extLst>
          </p:cNvPr>
          <p:cNvSpPr/>
          <p:nvPr/>
        </p:nvSpPr>
        <p:spPr bwMode="auto">
          <a:xfrm>
            <a:off x="8206077" y="1957867"/>
            <a:ext cx="182881" cy="182881"/>
          </a:xfrm>
          <a:prstGeom prst="ellipse">
            <a:avLst/>
          </a:prstGeom>
          <a:gradFill flip="none" rotWithShape="1">
            <a:gsLst>
              <a:gs pos="40000">
                <a:schemeClr val="tx1"/>
              </a:gs>
              <a:gs pos="100000">
                <a:schemeClr val="bg1">
                  <a:lumMod val="85000"/>
                  <a:shade val="100000"/>
                  <a:satMod val="115000"/>
                </a:schemeClr>
              </a:gs>
            </a:gsLst>
            <a:path path="circle">
              <a:fillToRect l="100000" t="100000"/>
            </a:path>
            <a:tileRect r="-100000" b="-100000"/>
          </a:gra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1" name="Isosceles Triangle 20">
            <a:extLst>
              <a:ext uri="{FF2B5EF4-FFF2-40B4-BE49-F238E27FC236}">
                <a16:creationId xmlns:a16="http://schemas.microsoft.com/office/drawing/2014/main" id="{0BEBB444-0AAC-4415-AD72-D9E834A2A1CF}"/>
              </a:ext>
            </a:extLst>
          </p:cNvPr>
          <p:cNvSpPr/>
          <p:nvPr/>
        </p:nvSpPr>
        <p:spPr bwMode="auto">
          <a:xfrm rot="11821990">
            <a:off x="4074976"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2" name="Oval 21">
            <a:extLst>
              <a:ext uri="{FF2B5EF4-FFF2-40B4-BE49-F238E27FC236}">
                <a16:creationId xmlns:a16="http://schemas.microsoft.com/office/drawing/2014/main" id="{9451C740-A260-4E73-93AE-9A3732F37470}"/>
              </a:ext>
            </a:extLst>
          </p:cNvPr>
          <p:cNvSpPr/>
          <p:nvPr/>
        </p:nvSpPr>
        <p:spPr bwMode="auto">
          <a:xfrm>
            <a:off x="4065887" y="1957867"/>
            <a:ext cx="182881" cy="182881"/>
          </a:xfrm>
          <a:prstGeom prst="ellipse">
            <a:avLst/>
          </a:prstGeom>
          <a:gradFill flip="none" rotWithShape="1">
            <a:gsLst>
              <a:gs pos="40000">
                <a:schemeClr val="tx1"/>
              </a:gs>
              <a:gs pos="100000">
                <a:schemeClr val="bg1">
                  <a:lumMod val="85000"/>
                  <a:shade val="100000"/>
                  <a:satMod val="115000"/>
                </a:schemeClr>
              </a:gs>
            </a:gsLst>
            <a:path path="circle">
              <a:fillToRect l="100000" t="100000"/>
            </a:path>
            <a:tileRect r="-100000" b="-100000"/>
          </a:gra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2505724" y="2574245"/>
            <a:ext cx="3135027" cy="3170099"/>
          </a:xfrm>
          <a:prstGeom prst="rect">
            <a:avLst/>
          </a:prstGeom>
          <a:noFill/>
        </p:spPr>
        <p:txBody>
          <a:bodyPr wrap="square" rtlCol="0">
            <a:spAutoFit/>
          </a:bodyPr>
          <a:lstStyle/>
          <a:p>
            <a:pPr>
              <a:spcBef>
                <a:spcPts val="400"/>
              </a:spcBef>
              <a:spcAft>
                <a:spcPts val="400"/>
              </a:spcAft>
            </a:pPr>
            <a:r>
              <a:rPr lang="en-US" sz="2000" b="1" dirty="0"/>
              <a:t>The Income Statement, also called Profit &amp; Loss (P&amp;L), is a financial statement that summarizes the revenue and costs incurred during a specific period of time (usually a fiscal quarter or year)</a:t>
            </a:r>
          </a:p>
        </p:txBody>
      </p:sp>
      <p:sp>
        <p:nvSpPr>
          <p:cNvPr id="25" name="TextBox 24">
            <a:extLst>
              <a:ext uri="{FF2B5EF4-FFF2-40B4-BE49-F238E27FC236}">
                <a16:creationId xmlns:a16="http://schemas.microsoft.com/office/drawing/2014/main" id="{0177EB99-8DCD-433F-9574-FE762A0A9FF7}"/>
              </a:ext>
            </a:extLst>
          </p:cNvPr>
          <p:cNvSpPr txBox="1"/>
          <p:nvPr/>
        </p:nvSpPr>
        <p:spPr>
          <a:xfrm>
            <a:off x="6776388" y="2574245"/>
            <a:ext cx="3135027" cy="2246769"/>
          </a:xfrm>
          <a:prstGeom prst="rect">
            <a:avLst/>
          </a:prstGeom>
          <a:noFill/>
        </p:spPr>
        <p:txBody>
          <a:bodyPr wrap="square" rtlCol="0">
            <a:spAutoFit/>
          </a:bodyPr>
          <a:lstStyle/>
          <a:p>
            <a:pPr>
              <a:spcBef>
                <a:spcPts val="400"/>
              </a:spcBef>
              <a:spcAft>
                <a:spcPts val="400"/>
              </a:spcAft>
            </a:pPr>
            <a:r>
              <a:rPr lang="en-US" sz="2000" b="1" dirty="0"/>
              <a:t>This financial statement provides information that shows the ability of a company to generate profit by increasing revenue and reducing costs</a:t>
            </a:r>
          </a:p>
        </p:txBody>
      </p:sp>
    </p:spTree>
    <p:extLst>
      <p:ext uri="{BB962C8B-B14F-4D97-AF65-F5344CB8AC3E}">
        <p14:creationId xmlns:p14="http://schemas.microsoft.com/office/powerpoint/2010/main" val="28416045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come Statement</a:t>
            </a:r>
            <a:br>
              <a:rPr lang="en-US" sz="2400" kern="0" dirty="0"/>
            </a:br>
            <a:r>
              <a:rPr lang="en-GB" sz="2400" b="0" kern="0" dirty="0"/>
              <a:t>The Income Statement has three primary component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17" name="Rectangle 16">
            <a:extLst>
              <a:ext uri="{FF2B5EF4-FFF2-40B4-BE49-F238E27FC236}">
                <a16:creationId xmlns:a16="http://schemas.microsoft.com/office/drawing/2014/main" id="{4F4A4D5A-E07D-4C2A-BD14-A6E2A15CC7AB}"/>
              </a:ext>
            </a:extLst>
          </p:cNvPr>
          <p:cNvSpPr/>
          <p:nvPr/>
        </p:nvSpPr>
        <p:spPr>
          <a:xfrm>
            <a:off x="622592" y="2093608"/>
            <a:ext cx="3083328" cy="4488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b="1" dirty="0">
                <a:solidFill>
                  <a:schemeClr val="bg1"/>
                </a:solidFill>
                <a:latin typeface="+mj-lt"/>
              </a:rPr>
              <a:t>Revenue</a:t>
            </a:r>
          </a:p>
        </p:txBody>
      </p:sp>
      <p:sp>
        <p:nvSpPr>
          <p:cNvPr id="18" name="Rectangle 17">
            <a:extLst>
              <a:ext uri="{FF2B5EF4-FFF2-40B4-BE49-F238E27FC236}">
                <a16:creationId xmlns:a16="http://schemas.microsoft.com/office/drawing/2014/main" id="{B0A5887A-1F7F-4570-8303-A42E737B5914}"/>
              </a:ext>
            </a:extLst>
          </p:cNvPr>
          <p:cNvSpPr/>
          <p:nvPr/>
        </p:nvSpPr>
        <p:spPr>
          <a:xfrm>
            <a:off x="622592" y="2587194"/>
            <a:ext cx="3083328" cy="35798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t"/>
          <a:lstStyle/>
          <a:p>
            <a:pPr fontAlgn="auto">
              <a:spcBef>
                <a:spcPts val="400"/>
              </a:spcBef>
              <a:spcAft>
                <a:spcPts val="400"/>
              </a:spcAft>
              <a:defRPr/>
            </a:pPr>
            <a:r>
              <a:rPr lang="en-US" sz="1200" b="1" dirty="0">
                <a:solidFill>
                  <a:schemeClr val="tx1"/>
                </a:solidFill>
              </a:rPr>
              <a:t>The money earned by the company which includes:</a:t>
            </a:r>
          </a:p>
          <a:p>
            <a:pPr marL="93663" indent="-93663" fontAlgn="auto">
              <a:spcBef>
                <a:spcPts val="400"/>
              </a:spcBef>
              <a:spcAft>
                <a:spcPts val="400"/>
              </a:spcAft>
              <a:buFont typeface="Arial" panose="020B0604020202020204" pitchFamily="34" charset="0"/>
              <a:buChar char="•"/>
              <a:defRPr/>
            </a:pPr>
            <a:r>
              <a:rPr lang="en-US" sz="1200" dirty="0">
                <a:solidFill>
                  <a:schemeClr val="tx1"/>
                </a:solidFill>
              </a:rPr>
              <a:t>The sale of goods and services</a:t>
            </a:r>
          </a:p>
          <a:p>
            <a:pPr marL="93663" indent="-93663" fontAlgn="auto">
              <a:spcBef>
                <a:spcPts val="400"/>
              </a:spcBef>
              <a:spcAft>
                <a:spcPts val="400"/>
              </a:spcAft>
              <a:buFont typeface="Arial" panose="020B0604020202020204" pitchFamily="34" charset="0"/>
              <a:buChar char="•"/>
              <a:defRPr/>
            </a:pPr>
            <a:r>
              <a:rPr lang="en-US" sz="1200" dirty="0">
                <a:solidFill>
                  <a:schemeClr val="tx1"/>
                </a:solidFill>
              </a:rPr>
              <a:t>The interest earned</a:t>
            </a:r>
          </a:p>
          <a:p>
            <a:pPr marL="93663" indent="-93663" fontAlgn="auto">
              <a:spcBef>
                <a:spcPts val="400"/>
              </a:spcBef>
              <a:spcAft>
                <a:spcPts val="400"/>
              </a:spcAft>
              <a:buFont typeface="Arial" panose="020B0604020202020204" pitchFamily="34" charset="0"/>
              <a:buChar char="•"/>
              <a:defRPr/>
            </a:pPr>
            <a:r>
              <a:rPr lang="en-US" sz="1200" dirty="0">
                <a:solidFill>
                  <a:schemeClr val="tx1"/>
                </a:solidFill>
              </a:rPr>
              <a:t>Some investment activities</a:t>
            </a:r>
            <a:endParaRPr lang="en-GB" sz="1200" dirty="0">
              <a:solidFill>
                <a:schemeClr val="tx1"/>
              </a:solidFill>
            </a:endParaRPr>
          </a:p>
        </p:txBody>
      </p:sp>
      <p:sp>
        <p:nvSpPr>
          <p:cNvPr id="19" name="Rectangle 18">
            <a:extLst>
              <a:ext uri="{FF2B5EF4-FFF2-40B4-BE49-F238E27FC236}">
                <a16:creationId xmlns:a16="http://schemas.microsoft.com/office/drawing/2014/main" id="{4ECA20C9-6D1D-4EF9-B233-7D0C6CFFDC21}"/>
              </a:ext>
            </a:extLst>
          </p:cNvPr>
          <p:cNvSpPr/>
          <p:nvPr/>
        </p:nvSpPr>
        <p:spPr>
          <a:xfrm>
            <a:off x="4563213" y="2093608"/>
            <a:ext cx="3083328" cy="4488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GB" b="1" dirty="0">
                <a:solidFill>
                  <a:schemeClr val="bg1"/>
                </a:solidFill>
                <a:latin typeface="+mj-lt"/>
              </a:rPr>
              <a:t>Expenses</a:t>
            </a:r>
          </a:p>
        </p:txBody>
      </p:sp>
      <p:sp>
        <p:nvSpPr>
          <p:cNvPr id="20" name="Rectangle 19">
            <a:extLst>
              <a:ext uri="{FF2B5EF4-FFF2-40B4-BE49-F238E27FC236}">
                <a16:creationId xmlns:a16="http://schemas.microsoft.com/office/drawing/2014/main" id="{96033D0E-33E2-42D8-B644-F62F4C59A302}"/>
              </a:ext>
            </a:extLst>
          </p:cNvPr>
          <p:cNvSpPr/>
          <p:nvPr/>
        </p:nvSpPr>
        <p:spPr>
          <a:xfrm>
            <a:off x="4563213" y="2587194"/>
            <a:ext cx="3083328" cy="35798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t"/>
          <a:lstStyle/>
          <a:p>
            <a:pPr fontAlgn="auto">
              <a:spcBef>
                <a:spcPts val="400"/>
              </a:spcBef>
              <a:spcAft>
                <a:spcPts val="400"/>
              </a:spcAft>
              <a:defRPr/>
            </a:pPr>
            <a:r>
              <a:rPr lang="en-US" sz="1200" b="1" dirty="0">
                <a:solidFill>
                  <a:schemeClr val="tx1"/>
                </a:solidFill>
              </a:rPr>
              <a:t>The Money spent to generate revenue which includes:</a:t>
            </a:r>
          </a:p>
          <a:p>
            <a:pPr marL="93663" indent="-93663">
              <a:spcBef>
                <a:spcPts val="400"/>
              </a:spcBef>
              <a:spcAft>
                <a:spcPts val="400"/>
              </a:spcAft>
              <a:buFont typeface="Arial" panose="020B0604020202020204" pitchFamily="34" charset="0"/>
              <a:buChar char="•"/>
              <a:defRPr/>
            </a:pPr>
            <a:r>
              <a:rPr lang="en-US" sz="1200" dirty="0">
                <a:solidFill>
                  <a:schemeClr val="tx1"/>
                </a:solidFill>
              </a:rPr>
              <a:t>Cost of Goods Sold (COGS): The direct costs attributable to the production of the goods sold by a company</a:t>
            </a:r>
          </a:p>
          <a:p>
            <a:pPr marL="93663" indent="-93663">
              <a:spcBef>
                <a:spcPts val="400"/>
              </a:spcBef>
              <a:spcAft>
                <a:spcPts val="400"/>
              </a:spcAft>
              <a:buFont typeface="Arial" panose="020B0604020202020204" pitchFamily="34" charset="0"/>
              <a:buChar char="•"/>
              <a:defRPr/>
            </a:pPr>
            <a:r>
              <a:rPr lang="en-US" sz="1200" dirty="0">
                <a:solidFill>
                  <a:schemeClr val="tx1"/>
                </a:solidFill>
              </a:rPr>
              <a:t>Selling Expenses: Cash payments (or equivalent) for marketing services </a:t>
            </a:r>
          </a:p>
          <a:p>
            <a:pPr marL="93663" indent="-93663">
              <a:spcBef>
                <a:spcPts val="400"/>
              </a:spcBef>
              <a:spcAft>
                <a:spcPts val="400"/>
              </a:spcAft>
              <a:buFont typeface="Arial" panose="020B0604020202020204" pitchFamily="34" charset="0"/>
              <a:buChar char="•"/>
              <a:defRPr/>
            </a:pPr>
            <a:r>
              <a:rPr lang="en-US" sz="1200" dirty="0">
                <a:solidFill>
                  <a:schemeClr val="tx1"/>
                </a:solidFill>
              </a:rPr>
              <a:t>Administrative Expenses: Costs to the firm to cover items such as salaries </a:t>
            </a:r>
          </a:p>
          <a:p>
            <a:pPr marL="93663" indent="-93663">
              <a:spcBef>
                <a:spcPts val="400"/>
              </a:spcBef>
              <a:spcAft>
                <a:spcPts val="400"/>
              </a:spcAft>
              <a:buFont typeface="Arial" panose="020B0604020202020204" pitchFamily="34" charset="0"/>
              <a:buChar char="•"/>
              <a:defRPr/>
            </a:pPr>
            <a:r>
              <a:rPr lang="en-US" sz="1200" dirty="0">
                <a:solidFill>
                  <a:schemeClr val="tx1"/>
                </a:solidFill>
              </a:rPr>
              <a:t>Interest Expenses: Payments made to cover costs of financing </a:t>
            </a:r>
          </a:p>
          <a:p>
            <a:pPr marL="93663" indent="-93663">
              <a:spcBef>
                <a:spcPts val="400"/>
              </a:spcBef>
              <a:spcAft>
                <a:spcPts val="400"/>
              </a:spcAft>
              <a:buFont typeface="Arial" panose="020B0604020202020204" pitchFamily="34" charset="0"/>
              <a:buChar char="•"/>
              <a:defRPr/>
            </a:pPr>
            <a:r>
              <a:rPr lang="en-US" sz="1200" dirty="0">
                <a:solidFill>
                  <a:schemeClr val="tx1"/>
                </a:solidFill>
              </a:rPr>
              <a:t>Tax Expense: Payments made to the government to cover income taxes</a:t>
            </a:r>
          </a:p>
          <a:p>
            <a:pPr marL="93663" indent="-93663">
              <a:spcBef>
                <a:spcPts val="400"/>
              </a:spcBef>
              <a:spcAft>
                <a:spcPts val="400"/>
              </a:spcAft>
              <a:buFont typeface="Arial" panose="020B0604020202020204" pitchFamily="34" charset="0"/>
              <a:buChar char="•"/>
              <a:defRPr/>
            </a:pPr>
            <a:r>
              <a:rPr lang="en-US" sz="1200" dirty="0">
                <a:solidFill>
                  <a:schemeClr val="tx1"/>
                </a:solidFill>
              </a:rPr>
              <a:t>Depreciation Expenses: Amount of asset usage that is applied to this year </a:t>
            </a:r>
          </a:p>
        </p:txBody>
      </p:sp>
      <p:sp>
        <p:nvSpPr>
          <p:cNvPr id="26" name="Rectangle 25">
            <a:extLst>
              <a:ext uri="{FF2B5EF4-FFF2-40B4-BE49-F238E27FC236}">
                <a16:creationId xmlns:a16="http://schemas.microsoft.com/office/drawing/2014/main" id="{C69008FA-EB07-448C-91E4-D5A77A741F28}"/>
              </a:ext>
            </a:extLst>
          </p:cNvPr>
          <p:cNvSpPr/>
          <p:nvPr/>
        </p:nvSpPr>
        <p:spPr>
          <a:xfrm>
            <a:off x="8503835" y="2093608"/>
            <a:ext cx="3083328" cy="4488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b="1" dirty="0">
                <a:solidFill>
                  <a:schemeClr val="bg1"/>
                </a:solidFill>
                <a:latin typeface="+mj-lt"/>
              </a:rPr>
              <a:t>Net Income</a:t>
            </a:r>
          </a:p>
        </p:txBody>
      </p:sp>
      <p:sp>
        <p:nvSpPr>
          <p:cNvPr id="27" name="Rectangle 26">
            <a:extLst>
              <a:ext uri="{FF2B5EF4-FFF2-40B4-BE49-F238E27FC236}">
                <a16:creationId xmlns:a16="http://schemas.microsoft.com/office/drawing/2014/main" id="{9520D1A7-55CE-4ED2-9C44-CCA08C652022}"/>
              </a:ext>
            </a:extLst>
          </p:cNvPr>
          <p:cNvSpPr/>
          <p:nvPr/>
        </p:nvSpPr>
        <p:spPr>
          <a:xfrm>
            <a:off x="8503835" y="2587194"/>
            <a:ext cx="3083328" cy="35798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t"/>
          <a:lstStyle/>
          <a:p>
            <a:pPr>
              <a:spcBef>
                <a:spcPts val="400"/>
              </a:spcBef>
              <a:spcAft>
                <a:spcPts val="400"/>
              </a:spcAft>
            </a:pPr>
            <a:r>
              <a:rPr lang="en-US" sz="1200" b="1" dirty="0">
                <a:solidFill>
                  <a:schemeClr val="tx1"/>
                </a:solidFill>
              </a:rPr>
              <a:t>Net Income is referred to as “Profit” or “Earnings,” when not negative and “Loss” when negative.</a:t>
            </a:r>
            <a:endParaRPr lang="en-US" sz="1200" dirty="0">
              <a:solidFill>
                <a:schemeClr val="tx1"/>
              </a:solidFill>
            </a:endParaRPr>
          </a:p>
          <a:p>
            <a:pPr>
              <a:spcBef>
                <a:spcPts val="400"/>
              </a:spcBef>
              <a:spcAft>
                <a:spcPts val="400"/>
              </a:spcAft>
            </a:pPr>
            <a:r>
              <a:rPr lang="en-US" sz="1200" b="1" dirty="0">
                <a:solidFill>
                  <a:schemeClr val="tx1"/>
                </a:solidFill>
              </a:rPr>
              <a:t>It is the company revenues minus its expenses</a:t>
            </a:r>
          </a:p>
        </p:txBody>
      </p:sp>
      <p:sp>
        <p:nvSpPr>
          <p:cNvPr id="28" name="Text Box 3">
            <a:extLst>
              <a:ext uri="{FF2B5EF4-FFF2-40B4-BE49-F238E27FC236}">
                <a16:creationId xmlns:a16="http://schemas.microsoft.com/office/drawing/2014/main" id="{D6B5A69A-EF4B-4CE4-8C8E-2B2D657092F4}"/>
              </a:ext>
            </a:extLst>
          </p:cNvPr>
          <p:cNvSpPr txBox="1">
            <a:spLocks noChangeArrowheads="1"/>
          </p:cNvSpPr>
          <p:nvPr/>
        </p:nvSpPr>
        <p:spPr bwMode="auto">
          <a:xfrm>
            <a:off x="3920511" y="1994886"/>
            <a:ext cx="409266" cy="646331"/>
          </a:xfrm>
          <a:prstGeom prst="rect">
            <a:avLst/>
          </a:prstGeom>
          <a:noFill/>
          <a:ln w="6350">
            <a:noFill/>
            <a:miter lim="800000"/>
            <a:headEnd/>
            <a:tailEnd/>
          </a:ln>
        </p:spPr>
        <p:txBody>
          <a:bodyPr wrap="none" lIns="45720" rIns="45720" anchorCtr="1">
            <a:spAutoFit/>
          </a:bodyPr>
          <a:lstStyle/>
          <a:p>
            <a:pPr eaLnBrk="0" hangingPunct="0">
              <a:spcBef>
                <a:spcPct val="50000"/>
              </a:spcBef>
            </a:pPr>
            <a:r>
              <a:rPr lang="en-GB" sz="3600" b="1" dirty="0">
                <a:solidFill>
                  <a:schemeClr val="tx2"/>
                </a:solidFill>
                <a:latin typeface="Verdana" pitchFamily="34" charset="0"/>
              </a:rPr>
              <a:t>-</a:t>
            </a:r>
          </a:p>
        </p:txBody>
      </p:sp>
      <p:sp>
        <p:nvSpPr>
          <p:cNvPr id="29" name="Text Box 4">
            <a:extLst>
              <a:ext uri="{FF2B5EF4-FFF2-40B4-BE49-F238E27FC236}">
                <a16:creationId xmlns:a16="http://schemas.microsoft.com/office/drawing/2014/main" id="{D60C24F3-DBE8-47BD-AB06-116AA5F0DECA}"/>
              </a:ext>
            </a:extLst>
          </p:cNvPr>
          <p:cNvSpPr txBox="1">
            <a:spLocks noChangeArrowheads="1"/>
          </p:cNvSpPr>
          <p:nvPr/>
        </p:nvSpPr>
        <p:spPr bwMode="auto">
          <a:xfrm>
            <a:off x="7753382" y="1994886"/>
            <a:ext cx="643612" cy="646331"/>
          </a:xfrm>
          <a:prstGeom prst="rect">
            <a:avLst/>
          </a:prstGeom>
          <a:noFill/>
          <a:ln w="6350">
            <a:noFill/>
            <a:miter lim="800000"/>
            <a:headEnd/>
            <a:tailEnd/>
          </a:ln>
        </p:spPr>
        <p:txBody>
          <a:bodyPr wrap="none" lIns="45720" rIns="45720" anchorCtr="1">
            <a:spAutoFit/>
          </a:bodyPr>
          <a:lstStyle/>
          <a:p>
            <a:pPr eaLnBrk="0" hangingPunct="0">
              <a:spcBef>
                <a:spcPct val="50000"/>
              </a:spcBef>
            </a:pPr>
            <a:r>
              <a:rPr lang="en-GB" sz="3600" b="1" dirty="0">
                <a:solidFill>
                  <a:schemeClr val="tx2"/>
                </a:solidFill>
                <a:latin typeface="Verdana" pitchFamily="34" charset="0"/>
              </a:rPr>
              <a:t>=</a:t>
            </a:r>
          </a:p>
        </p:txBody>
      </p:sp>
    </p:spTree>
    <p:extLst>
      <p:ext uri="{BB962C8B-B14F-4D97-AF65-F5344CB8AC3E}">
        <p14:creationId xmlns:p14="http://schemas.microsoft.com/office/powerpoint/2010/main" val="1800067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11.xml><?xml version="1.0" encoding="utf-8"?>
<a:theme xmlns:a="http://schemas.openxmlformats.org/drawingml/2006/main" name="9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0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36</TotalTime>
  <Words>1061</Words>
  <Application>Microsoft Office PowerPoint</Application>
  <PresentationFormat>Widescreen</PresentationFormat>
  <Paragraphs>220</Paragraphs>
  <Slides>22</Slides>
  <Notes>22</Notes>
  <HiddenSlides>0</HiddenSlides>
  <MMClips>0</MMClips>
  <ScaleCrop>false</ScaleCrop>
  <HeadingPairs>
    <vt:vector size="8" baseType="variant">
      <vt:variant>
        <vt:lpstr>Fonts Used</vt:lpstr>
      </vt:variant>
      <vt:variant>
        <vt:i4>5</vt:i4>
      </vt:variant>
      <vt:variant>
        <vt:lpstr>Theme</vt:lpstr>
      </vt:variant>
      <vt:variant>
        <vt:i4>18</vt:i4>
      </vt:variant>
      <vt:variant>
        <vt:lpstr>Embedded OLE Servers</vt:lpstr>
      </vt:variant>
      <vt:variant>
        <vt:i4>1</vt:i4>
      </vt:variant>
      <vt:variant>
        <vt:lpstr>Slide Titles</vt:lpstr>
      </vt:variant>
      <vt:variant>
        <vt:i4>22</vt:i4>
      </vt:variant>
    </vt:vector>
  </HeadingPairs>
  <TitlesOfParts>
    <vt:vector size="46" baseType="lpstr">
      <vt:lpstr>Arial</vt:lpstr>
      <vt:lpstr>Calibri</vt:lpstr>
      <vt:lpstr>Verdana</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eme3</vt:lpstr>
      <vt:lpstr>9_Custom Design</vt:lpstr>
      <vt:lpstr>10_Custom Design</vt:lpstr>
      <vt:lpstr>11_Custom Design</vt:lpstr>
      <vt:lpstr>12_Custom Design</vt:lpstr>
      <vt:lpstr>13_Custom Design</vt:lpstr>
      <vt:lpstr>14_Custom Design</vt:lpstr>
      <vt:lpstr>15_Custom Design</vt:lpstr>
      <vt:lpstr>16_Custom Design</vt:lpstr>
      <vt:lpstr>think-cell Slide</vt:lpstr>
      <vt:lpstr>Financial Analysis</vt:lpstr>
      <vt:lpstr>Guide</vt:lpstr>
      <vt:lpstr>Table of contents</vt:lpstr>
      <vt:lpstr>Financial Analysis Purpose</vt:lpstr>
      <vt:lpstr>Financial Analysis We are going to analyze the 3 key financial statements</vt:lpstr>
      <vt:lpstr>Financial Analysis The 3 financial statements capture 3 Business activities</vt:lpstr>
      <vt:lpstr>Table of contents</vt:lpstr>
      <vt:lpstr>Income Statement Purpose</vt:lpstr>
      <vt:lpstr>Income Statement The Income Statement has three primary components:</vt:lpstr>
      <vt:lpstr>Income Statement For more details about the income statement, open the Excel document “Income Statement”</vt:lpstr>
      <vt:lpstr>Table of contents</vt:lpstr>
      <vt:lpstr>Balance Sheet Statement Purpose</vt:lpstr>
      <vt:lpstr>Balance Sheet Statement The balance sheet must follow the formula Asset = Liabilities + Shareholders’ Equity</vt:lpstr>
      <vt:lpstr>Balance Sheet Statement For more details about the Balance Sheet Statement, open the Excel document “Balance Sheet”</vt:lpstr>
      <vt:lpstr>Table of contents</vt:lpstr>
      <vt:lpstr>Cash Flow Statement Purpose</vt:lpstr>
      <vt:lpstr>Cash Flow Statement Description</vt:lpstr>
      <vt:lpstr>Cash Flow Statement For more details about the Cash Flow Statement, open the Excel document “Cash Flow”</vt:lpstr>
      <vt:lpstr>Table of contents</vt:lpstr>
      <vt:lpstr>Links between the Income Statement and the Cash Flow Statement</vt:lpstr>
      <vt:lpstr>Links between the Cash Flow Statement and the Balance Sheet</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3-05-25T01:12:1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